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notesSlides/notesSlide6.xml" ContentType="application/vnd.openxmlformats-officedocument.presentationml.notesSlide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tags/tag18.xml" ContentType="application/vnd.openxmlformats-officedocument.presentationml.tags+xml"/>
  <Override PartName="/ppt/notesSlides/notesSlide8.xml" ContentType="application/vnd.openxmlformats-officedocument.presentationml.notesSlide+xml"/>
  <Override PartName="/ppt/tags/tag19.xml" ContentType="application/vnd.openxmlformats-officedocument.presentationml.tags+xml"/>
  <Override PartName="/ppt/notesSlides/notesSlide9.xml" ContentType="application/vnd.openxmlformats-officedocument.presentationml.notesSlide+xml"/>
  <Override PartName="/ppt/tags/tag20.xml" ContentType="application/vnd.openxmlformats-officedocument.presentationml.tags+xml"/>
  <Override PartName="/ppt/notesSlides/notesSlide10.xml" ContentType="application/vnd.openxmlformats-officedocument.presentationml.notesSlide+xml"/>
  <Override PartName="/ppt/tags/tag21.xml" ContentType="application/vnd.openxmlformats-officedocument.presentationml.tags+xml"/>
  <Override PartName="/ppt/notesSlides/notesSlide11.xml" ContentType="application/vnd.openxmlformats-officedocument.presentationml.notesSlide+xml"/>
  <Override PartName="/ppt/tags/tag22.xml" ContentType="application/vnd.openxmlformats-officedocument.presentationml.tags+xml"/>
  <Override PartName="/ppt/notesSlides/notesSlide12.xml" ContentType="application/vnd.openxmlformats-officedocument.presentationml.notesSlide+xml"/>
  <Override PartName="/ppt/tags/tag23.xml" ContentType="application/vnd.openxmlformats-officedocument.presentationml.tags+xml"/>
  <Override PartName="/ppt/notesSlides/notesSlide13.xml" ContentType="application/vnd.openxmlformats-officedocument.presentationml.notesSlide+xml"/>
  <Override PartName="/ppt/tags/tag24.xml" ContentType="application/vnd.openxmlformats-officedocument.presentationml.tags+xml"/>
  <Override PartName="/ppt/notesSlides/notesSlide14.xml" ContentType="application/vnd.openxmlformats-officedocument.presentationml.notesSlide+xml"/>
  <Override PartName="/ppt/tags/tag25.xml" ContentType="application/vnd.openxmlformats-officedocument.presentationml.tags+xml"/>
  <Override PartName="/ppt/notesSlides/notesSlide15.xml" ContentType="application/vnd.openxmlformats-officedocument.presentationml.notesSlide+xml"/>
  <Override PartName="/ppt/tags/tag26.xml" ContentType="application/vnd.openxmlformats-officedocument.presentationml.tags+xml"/>
  <Override PartName="/ppt/notesSlides/notesSlide16.xml" ContentType="application/vnd.openxmlformats-officedocument.presentationml.notesSlide+xml"/>
  <Override PartName="/ppt/tags/tag27.xml" ContentType="application/vnd.openxmlformats-officedocument.presentationml.tags+xml"/>
  <Override PartName="/ppt/notesSlides/notesSlide17.xml" ContentType="application/vnd.openxmlformats-officedocument.presentationml.notesSlide+xml"/>
  <Override PartName="/ppt/tags/tag28.xml" ContentType="application/vnd.openxmlformats-officedocument.presentationml.tags+xml"/>
  <Override PartName="/ppt/notesSlides/notesSlide18.xml" ContentType="application/vnd.openxmlformats-officedocument.presentationml.notesSlide+xml"/>
  <Override PartName="/ppt/tags/tag29.xml" ContentType="application/vnd.openxmlformats-officedocument.presentationml.tags+xml"/>
  <Override PartName="/ppt/notesSlides/notesSlide19.xml" ContentType="application/vnd.openxmlformats-officedocument.presentationml.notesSlide+xml"/>
  <Override PartName="/ppt/tags/tag30.xml" ContentType="application/vnd.openxmlformats-officedocument.presentationml.tags+xml"/>
  <Override PartName="/ppt/notesSlides/notesSlide20.xml" ContentType="application/vnd.openxmlformats-officedocument.presentationml.notesSlide+xml"/>
  <Override PartName="/ppt/tags/tag31.xml" ContentType="application/vnd.openxmlformats-officedocument.presentationml.tags+xml"/>
  <Override PartName="/ppt/notesSlides/notesSlide21.xml" ContentType="application/vnd.openxmlformats-officedocument.presentationml.notesSlide+xml"/>
  <Override PartName="/ppt/tags/tag32.xml" ContentType="application/vnd.openxmlformats-officedocument.presentationml.tags+xml"/>
  <Override PartName="/ppt/notesSlides/notesSlide22.xml" ContentType="application/vnd.openxmlformats-officedocument.presentationml.notesSlide+xml"/>
  <Override PartName="/ppt/tags/tag33.xml" ContentType="application/vnd.openxmlformats-officedocument.presentationml.tags+xml"/>
  <Override PartName="/ppt/notesSlides/notesSlide23.xml" ContentType="application/vnd.openxmlformats-officedocument.presentationml.notesSlide+xml"/>
  <Override PartName="/ppt/tags/tag34.xml" ContentType="application/vnd.openxmlformats-officedocument.presentationml.tags+xml"/>
  <Override PartName="/ppt/notesSlides/notesSlide24.xml" ContentType="application/vnd.openxmlformats-officedocument.presentationml.notesSlide+xml"/>
  <Override PartName="/ppt/tags/tag35.xml" ContentType="application/vnd.openxmlformats-officedocument.presentationml.tags+xml"/>
  <Override PartName="/ppt/notesSlides/notesSlide25.xml" ContentType="application/vnd.openxmlformats-officedocument.presentationml.notesSlide+xml"/>
  <Override PartName="/ppt/tags/tag36.xml" ContentType="application/vnd.openxmlformats-officedocument.presentationml.tags+xml"/>
  <Override PartName="/ppt/notesSlides/notesSlide26.xml" ContentType="application/vnd.openxmlformats-officedocument.presentationml.notesSlide+xml"/>
  <Override PartName="/ppt/tags/tag37.xml" ContentType="application/vnd.openxmlformats-officedocument.presentationml.tags+xml"/>
  <Override PartName="/ppt/notesSlides/notesSlide27.xml" ContentType="application/vnd.openxmlformats-officedocument.presentationml.notesSlide+xml"/>
  <Override PartName="/ppt/tags/tag38.xml" ContentType="application/vnd.openxmlformats-officedocument.presentationml.tags+xml"/>
  <Override PartName="/ppt/notesSlides/notesSlide28.xml" ContentType="application/vnd.openxmlformats-officedocument.presentationml.notesSlide+xml"/>
  <Override PartName="/ppt/tags/tag39.xml" ContentType="application/vnd.openxmlformats-officedocument.presentationml.tags+xml"/>
  <Override PartName="/ppt/notesSlides/notesSlide29.xml" ContentType="application/vnd.openxmlformats-officedocument.presentationml.notesSlide+xml"/>
  <Override PartName="/ppt/tags/tag40.xml" ContentType="application/vnd.openxmlformats-officedocument.presentationml.tags+xml"/>
  <Override PartName="/ppt/notesSlides/notesSlide30.xml" ContentType="application/vnd.openxmlformats-officedocument.presentationml.notesSlide+xml"/>
  <Override PartName="/ppt/tags/tag41.xml" ContentType="application/vnd.openxmlformats-officedocument.presentationml.tags+xml"/>
  <Override PartName="/ppt/notesSlides/notesSlide31.xml" ContentType="application/vnd.openxmlformats-officedocument.presentationml.notesSlide+xml"/>
  <Override PartName="/ppt/tags/tag42.xml" ContentType="application/vnd.openxmlformats-officedocument.presentationml.tags+xml"/>
  <Override PartName="/ppt/notesSlides/notesSlide3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5"/>
  </p:notesMasterIdLst>
  <p:sldIdLst>
    <p:sldId id="256" r:id="rId3"/>
    <p:sldId id="257" r:id="rId4"/>
    <p:sldId id="305" r:id="rId5"/>
    <p:sldId id="259" r:id="rId6"/>
    <p:sldId id="260" r:id="rId7"/>
    <p:sldId id="262" r:id="rId8"/>
    <p:sldId id="261" r:id="rId9"/>
    <p:sldId id="291" r:id="rId10"/>
    <p:sldId id="290" r:id="rId11"/>
    <p:sldId id="292" r:id="rId12"/>
    <p:sldId id="293" r:id="rId13"/>
    <p:sldId id="307" r:id="rId14"/>
    <p:sldId id="308" r:id="rId15"/>
    <p:sldId id="264" r:id="rId16"/>
    <p:sldId id="263" r:id="rId17"/>
    <p:sldId id="309" r:id="rId18"/>
    <p:sldId id="266" r:id="rId19"/>
    <p:sldId id="310" r:id="rId20"/>
    <p:sldId id="311" r:id="rId21"/>
    <p:sldId id="267" r:id="rId22"/>
    <p:sldId id="312" r:id="rId23"/>
    <p:sldId id="313" r:id="rId24"/>
    <p:sldId id="284" r:id="rId25"/>
    <p:sldId id="315" r:id="rId26"/>
    <p:sldId id="314" r:id="rId27"/>
    <p:sldId id="316" r:id="rId28"/>
    <p:sldId id="282" r:id="rId29"/>
    <p:sldId id="283" r:id="rId30"/>
    <p:sldId id="285" r:id="rId31"/>
    <p:sldId id="286" r:id="rId32"/>
    <p:sldId id="317" r:id="rId33"/>
    <p:sldId id="287" r:id="rId34"/>
  </p:sldIdLst>
  <p:sldSz cx="12192000" cy="6858000"/>
  <p:notesSz cx="6858000" cy="9144000"/>
  <p:defaultTextStyle>
    <a:defPPr>
      <a:defRPr lang="ar-SA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0" autoAdjust="0"/>
    <p:restoredTop sz="89864" autoAdjust="0"/>
  </p:normalViewPr>
  <p:slideViewPr>
    <p:cSldViewPr snapToGrid="0">
      <p:cViewPr varScale="1">
        <p:scale>
          <a:sx n="89" d="100"/>
          <a:sy n="89" d="100"/>
        </p:scale>
        <p:origin x="4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ableStyles" Target="tableStyles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endParaRPr lang="ar-S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fld id="{ED6E153E-CC04-4B26-A724-27309B366635}" type="datetimeFigureOut">
              <a:rPr lang="ar-SA" smtClean="0"/>
              <a:t>29/06/44</a:t>
            </a:fld>
            <a:endParaRPr lang="ar-S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ar-S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ar-S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endParaRPr lang="ar-S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fld id="{0668D44F-3BE4-4262-985A-2E8A7AA90E32}" type="slidenum">
              <a:rPr lang="ar-SA" smtClean="0"/>
              <a:t>‹#›</a:t>
            </a:fld>
            <a:endParaRPr lang="ar-SA"/>
          </a:p>
        </p:txBody>
      </p:sp>
    </p:spTree>
    <p:extLst>
      <p:ext uri="{BB962C8B-B14F-4D97-AF65-F5344CB8AC3E}">
        <p14:creationId xmlns:p14="http://schemas.microsoft.com/office/powerpoint/2010/main" val="15849475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1585EA-7F30-47FF-9F68-8C7B5BDB9D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2214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📲 </a:t>
            </a:r>
            <a:r>
              <a:rPr lang="ar-SA" dirty="0"/>
              <a:t>نسخة </a:t>
            </a:r>
            <a:r>
              <a:rPr lang="en-US" dirty="0"/>
              <a:t>Android - </a:t>
            </a:r>
            <a:r>
              <a:rPr lang="ar-SA" dirty="0"/>
              <a:t>بديل تعليمي:</a:t>
            </a:r>
          </a:p>
          <a:p>
            <a:r>
              <a:rPr lang="en-US" dirty="0"/>
              <a:t>https://play.google.com/store/apps/details?id=io.spck</a:t>
            </a:r>
          </a:p>
          <a:p>
            <a:endParaRPr lang="en-US" dirty="0"/>
          </a:p>
          <a:p>
            <a:r>
              <a:rPr lang="en-US" dirty="0"/>
              <a:t>📱 </a:t>
            </a:r>
            <a:r>
              <a:rPr lang="ar-SA" dirty="0"/>
              <a:t>نسخة </a:t>
            </a:r>
            <a:r>
              <a:rPr lang="en-US" dirty="0"/>
              <a:t>iOS - </a:t>
            </a:r>
            <a:r>
              <a:rPr lang="ar-SA" dirty="0"/>
              <a:t>بديل تعليمي:</a:t>
            </a:r>
          </a:p>
          <a:p>
            <a:r>
              <a:rPr lang="en-US" dirty="0"/>
              <a:t>https://apps.apple.com/us/app/spck-editor/id1507309511</a:t>
            </a:r>
          </a:p>
          <a:p>
            <a:endParaRPr lang="en-US" dirty="0"/>
          </a:p>
          <a:p>
            <a:r>
              <a:rPr lang="ar-SA" dirty="0"/>
              <a:t>الشرح</a:t>
            </a:r>
          </a:p>
          <a:p>
            <a:r>
              <a:rPr lang="en-US" dirty="0"/>
              <a:t>https://youtu.be/MY7VQjdEVUc</a:t>
            </a:r>
          </a:p>
          <a:p>
            <a:endParaRPr lang="en-US" dirty="0"/>
          </a:p>
          <a:p>
            <a:r>
              <a:rPr lang="ar-SA" dirty="0"/>
              <a:t>اسم البرنامج: </a:t>
            </a:r>
            <a:r>
              <a:rPr lang="en-US" dirty="0"/>
              <a:t>Visual Studio Code 💎Ⓜ️ </a:t>
            </a:r>
          </a:p>
          <a:p>
            <a:endParaRPr lang="en-US" dirty="0"/>
          </a:p>
          <a:p>
            <a:r>
              <a:rPr lang="en-US" dirty="0"/>
              <a:t>✳️ </a:t>
            </a:r>
            <a:r>
              <a:rPr lang="ar-SA" dirty="0"/>
              <a:t>رابط </a:t>
            </a:r>
            <a:r>
              <a:rPr lang="en-US" dirty="0"/>
              <a:t>Google Drive :</a:t>
            </a:r>
          </a:p>
          <a:p>
            <a:r>
              <a:rPr lang="en-US" dirty="0"/>
              <a:t>https://drive.google.com/file/d/1YrIjtYInU0aHSrT1zaO34Z1MEWKp7dGt/view?usp=sharing</a:t>
            </a:r>
          </a:p>
          <a:p>
            <a:endParaRPr lang="en-US" dirty="0"/>
          </a:p>
          <a:p>
            <a:r>
              <a:rPr lang="en-US" dirty="0"/>
              <a:t>✴️ </a:t>
            </a:r>
            <a:r>
              <a:rPr lang="ar-SA" dirty="0"/>
              <a:t>الروابط الرسمية:</a:t>
            </a:r>
          </a:p>
          <a:p>
            <a:endParaRPr lang="ar-SA" dirty="0"/>
          </a:p>
          <a:p>
            <a:r>
              <a:rPr lang="en-US" dirty="0"/>
              <a:t>💻 </a:t>
            </a:r>
            <a:r>
              <a:rPr lang="ar-SA" dirty="0"/>
              <a:t>نسخة </a:t>
            </a:r>
            <a:r>
              <a:rPr lang="en-US" dirty="0"/>
              <a:t>Windows:</a:t>
            </a:r>
          </a:p>
          <a:p>
            <a:r>
              <a:rPr lang="en-US" dirty="0"/>
              <a:t>https://code.visualstudio.com/download</a:t>
            </a:r>
          </a:p>
          <a:p>
            <a:endParaRPr lang="en-US" dirty="0"/>
          </a:p>
          <a:p>
            <a:r>
              <a:rPr lang="en-US" dirty="0"/>
              <a:t>⭐️ </a:t>
            </a:r>
            <a:r>
              <a:rPr lang="ar-SA" dirty="0"/>
              <a:t>بديل تعليمي 1 - موقع أونلاين:</a:t>
            </a:r>
          </a:p>
          <a:p>
            <a:r>
              <a:rPr lang="en-US" dirty="0"/>
              <a:t>https://harmash.com/web-editor/?tutorial=html&amp;lesson=html-tags&amp;file=doctype</a:t>
            </a:r>
          </a:p>
          <a:p>
            <a:endParaRPr lang="en-US" dirty="0"/>
          </a:p>
          <a:p>
            <a:r>
              <a:rPr lang="en-US" dirty="0"/>
              <a:t>🌐 </a:t>
            </a:r>
            <a:r>
              <a:rPr lang="ar-SA" dirty="0"/>
              <a:t>موقع اونلاين 2 - موقع أونلاين:</a:t>
            </a:r>
          </a:p>
          <a:p>
            <a:r>
              <a:rPr lang="en-US" dirty="0"/>
              <a:t>https://vscode.dev/</a:t>
            </a:r>
          </a:p>
          <a:p>
            <a:endParaRPr lang="en-US" dirty="0"/>
          </a:p>
          <a:p>
            <a:r>
              <a:rPr lang="en-US" dirty="0"/>
              <a:t>📲 </a:t>
            </a:r>
            <a:r>
              <a:rPr lang="ar-SA" dirty="0"/>
              <a:t>بديل تعليمي 3 - نسخة </a:t>
            </a:r>
            <a:r>
              <a:rPr lang="en-US" dirty="0"/>
              <a:t>Android :</a:t>
            </a:r>
          </a:p>
          <a:p>
            <a:r>
              <a:rPr lang="en-US" dirty="0"/>
              <a:t>https://play.google.com/store/apps/details?id=io.spck</a:t>
            </a:r>
          </a:p>
          <a:p>
            <a:endParaRPr lang="en-US" dirty="0"/>
          </a:p>
          <a:p>
            <a:r>
              <a:rPr lang="en-US" dirty="0"/>
              <a:t>📱 </a:t>
            </a:r>
            <a:r>
              <a:rPr lang="ar-SA" dirty="0"/>
              <a:t>بديل تعليمي 4 - نسخة </a:t>
            </a:r>
            <a:r>
              <a:rPr lang="en-US" dirty="0"/>
              <a:t>iOS:</a:t>
            </a:r>
          </a:p>
          <a:p>
            <a:r>
              <a:rPr lang="en-US" dirty="0"/>
              <a:t>https://apps.apple.com/us/app/spck-editor/id150730951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40500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896299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782967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497603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1585EA-7F30-47FF-9F68-8C7B5BDB9D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555906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700088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671236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657315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951409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11020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1585EA-7F30-47FF-9F68-8C7B5BDB9D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373532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219655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542968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716628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016371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326144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48464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737860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1585EA-7F30-47FF-9F68-8C7B5BDB9D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932615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wordwall.net/ar/resource/50679395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817780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1585EA-7F30-47FF-9F68-8C7B5BDB9D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92957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1585EA-7F30-47FF-9F68-8C7B5BDB9D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861251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📲 </a:t>
            </a:r>
            <a:r>
              <a:rPr lang="ar-SA" dirty="0"/>
              <a:t>نسخة </a:t>
            </a:r>
            <a:r>
              <a:rPr lang="en-US" dirty="0"/>
              <a:t>Android - </a:t>
            </a:r>
            <a:r>
              <a:rPr lang="ar-SA" dirty="0"/>
              <a:t>بديل تعليمي:</a:t>
            </a:r>
          </a:p>
          <a:p>
            <a:r>
              <a:rPr lang="en-US" dirty="0"/>
              <a:t>https://play.google.com/store/apps/details?id=io.spck</a:t>
            </a:r>
          </a:p>
          <a:p>
            <a:endParaRPr lang="en-US" dirty="0"/>
          </a:p>
          <a:p>
            <a:r>
              <a:rPr lang="en-US" dirty="0"/>
              <a:t>📱 </a:t>
            </a:r>
            <a:r>
              <a:rPr lang="ar-SA" dirty="0"/>
              <a:t>نسخة </a:t>
            </a:r>
            <a:r>
              <a:rPr lang="en-US" dirty="0"/>
              <a:t>iOS - </a:t>
            </a:r>
            <a:r>
              <a:rPr lang="ar-SA" dirty="0"/>
              <a:t>بديل تعليمي:</a:t>
            </a:r>
          </a:p>
          <a:p>
            <a:r>
              <a:rPr lang="en-US" dirty="0"/>
              <a:t>https://apps.apple.com/us/app/spck-editor/id1507309511</a:t>
            </a:r>
          </a:p>
          <a:p>
            <a:endParaRPr lang="en-US" dirty="0"/>
          </a:p>
          <a:p>
            <a:r>
              <a:rPr lang="ar-SA" dirty="0"/>
              <a:t>الشرح</a:t>
            </a:r>
          </a:p>
          <a:p>
            <a:r>
              <a:rPr lang="en-US" dirty="0"/>
              <a:t>https://youtu.be/MY7VQjdEVUc</a:t>
            </a:r>
          </a:p>
          <a:p>
            <a:endParaRPr lang="en-US" dirty="0"/>
          </a:p>
          <a:p>
            <a:r>
              <a:rPr lang="ar-SA" dirty="0"/>
              <a:t>اسم البرنامج: </a:t>
            </a:r>
            <a:r>
              <a:rPr lang="en-US" dirty="0"/>
              <a:t>Visual Studio Code 💎Ⓜ️ </a:t>
            </a:r>
          </a:p>
          <a:p>
            <a:endParaRPr lang="en-US" dirty="0"/>
          </a:p>
          <a:p>
            <a:r>
              <a:rPr lang="en-US" dirty="0"/>
              <a:t>✳️ </a:t>
            </a:r>
            <a:r>
              <a:rPr lang="ar-SA" dirty="0"/>
              <a:t>رابط </a:t>
            </a:r>
            <a:r>
              <a:rPr lang="en-US" dirty="0"/>
              <a:t>Google Drive :</a:t>
            </a:r>
          </a:p>
          <a:p>
            <a:r>
              <a:rPr lang="en-US" dirty="0"/>
              <a:t>https://drive.google.com/file/d/1YrIjtYInU0aHSrT1zaO34Z1MEWKp7dGt/view?usp=sharing</a:t>
            </a:r>
          </a:p>
          <a:p>
            <a:endParaRPr lang="en-US" dirty="0"/>
          </a:p>
          <a:p>
            <a:r>
              <a:rPr lang="en-US" dirty="0"/>
              <a:t>✴️ </a:t>
            </a:r>
            <a:r>
              <a:rPr lang="ar-SA" dirty="0"/>
              <a:t>الروابط الرسمية:</a:t>
            </a:r>
          </a:p>
          <a:p>
            <a:endParaRPr lang="ar-SA" dirty="0"/>
          </a:p>
          <a:p>
            <a:r>
              <a:rPr lang="en-US" dirty="0"/>
              <a:t>💻 </a:t>
            </a:r>
            <a:r>
              <a:rPr lang="ar-SA" dirty="0"/>
              <a:t>نسخة </a:t>
            </a:r>
            <a:r>
              <a:rPr lang="en-US" dirty="0"/>
              <a:t>Windows:</a:t>
            </a:r>
          </a:p>
          <a:p>
            <a:r>
              <a:rPr lang="en-US" dirty="0"/>
              <a:t>https://code.visualstudio.com/download</a:t>
            </a:r>
          </a:p>
          <a:p>
            <a:endParaRPr lang="en-US" dirty="0"/>
          </a:p>
          <a:p>
            <a:r>
              <a:rPr lang="en-US" dirty="0"/>
              <a:t>⭐️ </a:t>
            </a:r>
            <a:r>
              <a:rPr lang="ar-SA" dirty="0"/>
              <a:t>بديل تعليمي 1 - موقع أونلاين:</a:t>
            </a:r>
          </a:p>
          <a:p>
            <a:r>
              <a:rPr lang="en-US" dirty="0"/>
              <a:t>https://harmash.com/web-editor/?tutorial=html&amp;lesson=html-tags&amp;file=doctype</a:t>
            </a:r>
          </a:p>
          <a:p>
            <a:endParaRPr lang="en-US" dirty="0"/>
          </a:p>
          <a:p>
            <a:r>
              <a:rPr lang="en-US" dirty="0"/>
              <a:t>🌐 </a:t>
            </a:r>
            <a:r>
              <a:rPr lang="ar-SA" dirty="0"/>
              <a:t>موقع اونلاين 2 - موقع أونلاين:</a:t>
            </a:r>
          </a:p>
          <a:p>
            <a:r>
              <a:rPr lang="en-US" dirty="0"/>
              <a:t>https://vscode.dev/</a:t>
            </a:r>
          </a:p>
          <a:p>
            <a:endParaRPr lang="en-US" dirty="0"/>
          </a:p>
          <a:p>
            <a:r>
              <a:rPr lang="en-US" dirty="0"/>
              <a:t>📲 </a:t>
            </a:r>
            <a:r>
              <a:rPr lang="ar-SA" dirty="0"/>
              <a:t>بديل تعليمي 3 - نسخة </a:t>
            </a:r>
            <a:r>
              <a:rPr lang="en-US" dirty="0"/>
              <a:t>Android :</a:t>
            </a:r>
          </a:p>
          <a:p>
            <a:r>
              <a:rPr lang="en-US" dirty="0"/>
              <a:t>https://play.google.com/store/apps/details?id=io.spck</a:t>
            </a:r>
          </a:p>
          <a:p>
            <a:endParaRPr lang="en-US" dirty="0"/>
          </a:p>
          <a:p>
            <a:r>
              <a:rPr lang="en-US" dirty="0"/>
              <a:t>📱 </a:t>
            </a:r>
            <a:r>
              <a:rPr lang="ar-SA" dirty="0"/>
              <a:t>بديل تعليمي 4 - نسخة </a:t>
            </a:r>
            <a:r>
              <a:rPr lang="en-US" dirty="0"/>
              <a:t>iOS:</a:t>
            </a:r>
          </a:p>
          <a:p>
            <a:r>
              <a:rPr lang="en-US" dirty="0"/>
              <a:t>https://apps.apple.com/us/app/spck-editor/id150730951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275389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1585EA-7F30-47FF-9F68-8C7B5BDB9D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896212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73477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1585EA-7F30-47FF-9F68-8C7B5BDB9D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15709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0028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1585EA-7F30-47FF-9F68-8C7B5BDB9D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9636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68442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1585EA-7F30-47FF-9F68-8C7B5BDB9D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1547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ar-SA" dirty="0"/>
              <a:t>بالكتابة </a:t>
            </a:r>
            <a:r>
              <a:rPr lang="ar-SA" dirty="0" err="1"/>
              <a:t>بالقوقل</a:t>
            </a:r>
            <a:r>
              <a:rPr lang="ar-SA" dirty="0"/>
              <a:t> تحميل البرنامج </a:t>
            </a:r>
            <a:endParaRPr lang="en-US" dirty="0"/>
          </a:p>
          <a:p>
            <a:r>
              <a:rPr lang="ar-SA" dirty="0"/>
              <a:t>رابط </a:t>
            </a:r>
            <a:r>
              <a:rPr lang="en-US" dirty="0"/>
              <a:t>Google Drive :</a:t>
            </a:r>
          </a:p>
          <a:p>
            <a:r>
              <a:rPr lang="en-US" dirty="0"/>
              <a:t>https://drive.google.com/file/d/1YrIjtYInU0aHSrT1zaO34Z1MEWKp7dGt/view?usp=sharing</a:t>
            </a:r>
          </a:p>
          <a:p>
            <a:endParaRPr lang="en-US" dirty="0"/>
          </a:p>
          <a:p>
            <a:r>
              <a:rPr lang="en-US" dirty="0"/>
              <a:t>✴️ </a:t>
            </a:r>
            <a:r>
              <a:rPr lang="ar-SA" dirty="0"/>
              <a:t>الروابط الرسمية:</a:t>
            </a:r>
          </a:p>
          <a:p>
            <a:endParaRPr lang="ar-SA" dirty="0"/>
          </a:p>
          <a:p>
            <a:r>
              <a:rPr lang="en-US" dirty="0"/>
              <a:t>💻 </a:t>
            </a:r>
            <a:r>
              <a:rPr lang="ar-SA" dirty="0"/>
              <a:t>نسخة </a:t>
            </a:r>
            <a:r>
              <a:rPr lang="en-US" dirty="0"/>
              <a:t>Windows:</a:t>
            </a:r>
          </a:p>
          <a:p>
            <a:r>
              <a:rPr lang="en-US" dirty="0"/>
              <a:t>https://code.visualstudio.com/download</a:t>
            </a:r>
          </a:p>
          <a:p>
            <a:endParaRPr lang="en-US" dirty="0"/>
          </a:p>
          <a:p>
            <a:r>
              <a:rPr lang="en-US" dirty="0"/>
              <a:t>📲 </a:t>
            </a:r>
            <a:r>
              <a:rPr lang="ar-SA" dirty="0"/>
              <a:t>نسخة </a:t>
            </a:r>
            <a:r>
              <a:rPr lang="en-US" dirty="0"/>
              <a:t>Android - </a:t>
            </a:r>
            <a:r>
              <a:rPr lang="ar-SA" dirty="0"/>
              <a:t>بديل تعليمي:</a:t>
            </a:r>
          </a:p>
          <a:p>
            <a:r>
              <a:rPr lang="en-US" dirty="0"/>
              <a:t>https://play.google.com/store/apps/details?id=io.spck</a:t>
            </a:r>
          </a:p>
          <a:p>
            <a:endParaRPr lang="en-US" dirty="0"/>
          </a:p>
          <a:p>
            <a:r>
              <a:rPr lang="en-US" dirty="0"/>
              <a:t>📱 </a:t>
            </a:r>
            <a:r>
              <a:rPr lang="ar-SA" dirty="0"/>
              <a:t>نسخة </a:t>
            </a:r>
            <a:r>
              <a:rPr lang="en-US" dirty="0"/>
              <a:t>iOS - </a:t>
            </a:r>
            <a:r>
              <a:rPr lang="ar-SA" dirty="0"/>
              <a:t>بديل تعليمي:</a:t>
            </a:r>
          </a:p>
          <a:p>
            <a:r>
              <a:rPr lang="en-US" dirty="0"/>
              <a:t>https://apps.apple.com/us/app/spck-editor/id150730951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98409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ar-S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ar-S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C9E9F-AD4D-4254-B600-7E9E07D596F6}" type="datetimeFigureOut">
              <a:rPr lang="ar-SA" smtClean="0"/>
              <a:t>29/06/44</a:t>
            </a:fld>
            <a:endParaRPr lang="ar-S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S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F2ABA-27A1-4ABB-A39F-C7C91BDF9C08}" type="slidenum">
              <a:rPr lang="ar-SA" smtClean="0"/>
              <a:t>‹#›</a:t>
            </a:fld>
            <a:endParaRPr lang="ar-SA"/>
          </a:p>
        </p:txBody>
      </p:sp>
    </p:spTree>
    <p:extLst>
      <p:ext uri="{BB962C8B-B14F-4D97-AF65-F5344CB8AC3E}">
        <p14:creationId xmlns:p14="http://schemas.microsoft.com/office/powerpoint/2010/main" val="10810490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ar-S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ar-S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C9E9F-AD4D-4254-B600-7E9E07D596F6}" type="datetimeFigureOut">
              <a:rPr lang="ar-SA" smtClean="0"/>
              <a:t>29/06/44</a:t>
            </a:fld>
            <a:endParaRPr lang="ar-S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S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F2ABA-27A1-4ABB-A39F-C7C91BDF9C08}" type="slidenum">
              <a:rPr lang="ar-SA" smtClean="0"/>
              <a:t>‹#›</a:t>
            </a:fld>
            <a:endParaRPr lang="ar-SA"/>
          </a:p>
        </p:txBody>
      </p:sp>
    </p:spTree>
    <p:extLst>
      <p:ext uri="{BB962C8B-B14F-4D97-AF65-F5344CB8AC3E}">
        <p14:creationId xmlns:p14="http://schemas.microsoft.com/office/powerpoint/2010/main" val="41101136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ar-S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ar-S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C9E9F-AD4D-4254-B600-7E9E07D596F6}" type="datetimeFigureOut">
              <a:rPr lang="ar-SA" smtClean="0"/>
              <a:t>29/06/44</a:t>
            </a:fld>
            <a:endParaRPr lang="ar-S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S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F2ABA-27A1-4ABB-A39F-C7C91BDF9C08}" type="slidenum">
              <a:rPr lang="ar-SA" smtClean="0"/>
              <a:t>‹#›</a:t>
            </a:fld>
            <a:endParaRPr lang="ar-SA"/>
          </a:p>
        </p:txBody>
      </p:sp>
    </p:spTree>
    <p:extLst>
      <p:ext uri="{BB962C8B-B14F-4D97-AF65-F5344CB8AC3E}">
        <p14:creationId xmlns:p14="http://schemas.microsoft.com/office/powerpoint/2010/main" val="2773196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32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  <a:p>
            <a:endParaRPr lang="en-US" dirty="0"/>
          </a:p>
        </p:txBody>
      </p:sp>
      <p:sp>
        <p:nvSpPr>
          <p:cNvPr id="5" name="Title 1"/>
          <p:cNvSpPr txBox="1">
            <a:spLocks/>
          </p:cNvSpPr>
          <p:nvPr userDrawn="1"/>
        </p:nvSpPr>
        <p:spPr>
          <a:xfrm>
            <a:off x="495301" y="189526"/>
            <a:ext cx="11099801" cy="756223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endParaRPr lang="en-US" sz="3200" baseline="30000" dirty="0">
              <a:solidFill>
                <a:schemeClr val="tx1"/>
              </a:solidFill>
              <a:latin typeface="Georgia"/>
              <a:cs typeface="Roboto Condensed Bold"/>
            </a:endParaRPr>
          </a:p>
        </p:txBody>
      </p:sp>
    </p:spTree>
    <p:extLst>
      <p:ext uri="{BB962C8B-B14F-4D97-AF65-F5344CB8AC3E}">
        <p14:creationId xmlns:p14="http://schemas.microsoft.com/office/powerpoint/2010/main" val="6622818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sid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773386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228600" indent="-228600" algn="ctr">
              <a:buNone/>
              <a:defRPr lang="en-US" sz="3200" i="1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  <a:p>
            <a:endParaRPr lang="en-US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33122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Rectangle 21"/>
          <p:cNvSpPr/>
          <p:nvPr userDrawn="1"/>
        </p:nvSpPr>
        <p:spPr>
          <a:xfrm>
            <a:off x="10946383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>
                <a:solidFill>
                  <a:schemeClr val="accent1"/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36665838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ner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5477906" y="0"/>
            <a:ext cx="6714093" cy="44704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  <a:p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Rectangle 22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>
                <a:solidFill>
                  <a:schemeClr val="accent1"/>
                </a:solidFill>
              </a:rPr>
              <a:t>/</a:t>
            </a:r>
          </a:p>
        </p:txBody>
      </p:sp>
      <p:sp>
        <p:nvSpPr>
          <p:cNvPr id="25" name="Content Placeholder 15"/>
          <p:cNvSpPr>
            <a:spLocks noGrp="1"/>
          </p:cNvSpPr>
          <p:nvPr>
            <p:ph sz="quarter" idx="14" hasCustomPrompt="1"/>
          </p:nvPr>
        </p:nvSpPr>
        <p:spPr>
          <a:xfrm>
            <a:off x="5330807" y="4722585"/>
            <a:ext cx="6561156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pl-PL" sz="6000" b="1" i="0" kern="1200" cap="all" spc="-30" baseline="0" dirty="0" smtClean="0">
                <a:solidFill>
                  <a:schemeClr val="tx1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</a:lstStyle>
          <a:p>
            <a:pPr marL="0" lv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dirty="0"/>
              <a:t>Text</a:t>
            </a:r>
          </a:p>
        </p:txBody>
      </p:sp>
      <p:sp>
        <p:nvSpPr>
          <p:cNvPr id="26" name="Content Placeholder 15"/>
          <p:cNvSpPr>
            <a:spLocks noGrp="1"/>
          </p:cNvSpPr>
          <p:nvPr>
            <p:ph sz="quarter" idx="12" hasCustomPrompt="1"/>
          </p:nvPr>
        </p:nvSpPr>
        <p:spPr>
          <a:xfrm>
            <a:off x="5330807" y="5752957"/>
            <a:ext cx="6561784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Your text </a:t>
            </a:r>
          </a:p>
        </p:txBody>
      </p:sp>
    </p:spTree>
    <p:extLst>
      <p:ext uri="{BB962C8B-B14F-4D97-AF65-F5344CB8AC3E}">
        <p14:creationId xmlns:p14="http://schemas.microsoft.com/office/powerpoint/2010/main" val="9723335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rner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191912" y="0"/>
            <a:ext cx="3589866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3781778" y="0"/>
            <a:ext cx="841022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>
                <a:solidFill>
                  <a:schemeClr val="accent1"/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35040490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rner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 flipH="1">
            <a:off x="8410222" y="0"/>
            <a:ext cx="3589866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841022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 flipH="1">
            <a:off x="11521834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 flipH="1">
            <a:off x="10935095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>
                <a:solidFill>
                  <a:schemeClr val="accent1"/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41465688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>
                <a:solidFill>
                  <a:schemeClr val="accent1"/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24044234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ffee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>
                <a:solidFill>
                  <a:schemeClr val="accent1"/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18748424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7344229" y="0"/>
            <a:ext cx="484777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32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>
                <a:solidFill>
                  <a:schemeClr val="accent1"/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28166370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ar-S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ar-S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C9E9F-AD4D-4254-B600-7E9E07D596F6}" type="datetimeFigureOut">
              <a:rPr lang="ar-SA" smtClean="0"/>
              <a:t>29/06/44</a:t>
            </a:fld>
            <a:endParaRPr lang="ar-S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S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F2ABA-27A1-4ABB-A39F-C7C91BDF9C08}" type="slidenum">
              <a:rPr lang="ar-SA" smtClean="0"/>
              <a:t>‹#›</a:t>
            </a:fld>
            <a:endParaRPr lang="ar-SA"/>
          </a:p>
        </p:txBody>
      </p:sp>
    </p:spTree>
    <p:extLst>
      <p:ext uri="{BB962C8B-B14F-4D97-AF65-F5344CB8AC3E}">
        <p14:creationId xmlns:p14="http://schemas.microsoft.com/office/powerpoint/2010/main" val="402133884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  <a:p>
            <a:endParaRPr lang="en-US" dirty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>
                <a:solidFill>
                  <a:schemeClr val="accent1"/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39030297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ar-S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C9E9F-AD4D-4254-B600-7E9E07D596F6}" type="datetimeFigureOut">
              <a:rPr lang="ar-SA" smtClean="0"/>
              <a:t>29/06/44</a:t>
            </a:fld>
            <a:endParaRPr lang="ar-S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S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F2ABA-27A1-4ABB-A39F-C7C91BDF9C08}" type="slidenum">
              <a:rPr lang="ar-SA" smtClean="0"/>
              <a:t>‹#›</a:t>
            </a:fld>
            <a:endParaRPr lang="ar-SA"/>
          </a:p>
        </p:txBody>
      </p:sp>
    </p:spTree>
    <p:extLst>
      <p:ext uri="{BB962C8B-B14F-4D97-AF65-F5344CB8AC3E}">
        <p14:creationId xmlns:p14="http://schemas.microsoft.com/office/powerpoint/2010/main" val="869650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ar-S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ar-S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ar-SA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C9E9F-AD4D-4254-B600-7E9E07D596F6}" type="datetimeFigureOut">
              <a:rPr lang="ar-SA" smtClean="0"/>
              <a:t>29/06/44</a:t>
            </a:fld>
            <a:endParaRPr lang="ar-S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S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F2ABA-27A1-4ABB-A39F-C7C91BDF9C08}" type="slidenum">
              <a:rPr lang="ar-SA" smtClean="0"/>
              <a:t>‹#›</a:t>
            </a:fld>
            <a:endParaRPr lang="ar-SA"/>
          </a:p>
        </p:txBody>
      </p:sp>
    </p:spTree>
    <p:extLst>
      <p:ext uri="{BB962C8B-B14F-4D97-AF65-F5344CB8AC3E}">
        <p14:creationId xmlns:p14="http://schemas.microsoft.com/office/powerpoint/2010/main" val="4388761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ar-S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ar-S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ar-SA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C9E9F-AD4D-4254-B600-7E9E07D596F6}" type="datetimeFigureOut">
              <a:rPr lang="ar-SA" smtClean="0"/>
              <a:t>29/06/44</a:t>
            </a:fld>
            <a:endParaRPr lang="ar-SA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S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F2ABA-27A1-4ABB-A39F-C7C91BDF9C08}" type="slidenum">
              <a:rPr lang="ar-SA" smtClean="0"/>
              <a:t>‹#›</a:t>
            </a:fld>
            <a:endParaRPr lang="ar-SA"/>
          </a:p>
        </p:txBody>
      </p:sp>
    </p:spTree>
    <p:extLst>
      <p:ext uri="{BB962C8B-B14F-4D97-AF65-F5344CB8AC3E}">
        <p14:creationId xmlns:p14="http://schemas.microsoft.com/office/powerpoint/2010/main" val="5208260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ar-S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C9E9F-AD4D-4254-B600-7E9E07D596F6}" type="datetimeFigureOut">
              <a:rPr lang="ar-SA" smtClean="0"/>
              <a:t>29/06/44</a:t>
            </a:fld>
            <a:endParaRPr lang="ar-S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S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F2ABA-27A1-4ABB-A39F-C7C91BDF9C08}" type="slidenum">
              <a:rPr lang="ar-SA" smtClean="0"/>
              <a:t>‹#›</a:t>
            </a:fld>
            <a:endParaRPr lang="ar-SA"/>
          </a:p>
        </p:txBody>
      </p:sp>
    </p:spTree>
    <p:extLst>
      <p:ext uri="{BB962C8B-B14F-4D97-AF65-F5344CB8AC3E}">
        <p14:creationId xmlns:p14="http://schemas.microsoft.com/office/powerpoint/2010/main" val="12735132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C9E9F-AD4D-4254-B600-7E9E07D596F6}" type="datetimeFigureOut">
              <a:rPr lang="ar-SA" smtClean="0"/>
              <a:t>29/06/44</a:t>
            </a:fld>
            <a:endParaRPr lang="ar-S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S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F2ABA-27A1-4ABB-A39F-C7C91BDF9C08}" type="slidenum">
              <a:rPr lang="ar-SA" smtClean="0"/>
              <a:t>‹#›</a:t>
            </a:fld>
            <a:endParaRPr lang="ar-SA"/>
          </a:p>
        </p:txBody>
      </p:sp>
    </p:spTree>
    <p:extLst>
      <p:ext uri="{BB962C8B-B14F-4D97-AF65-F5344CB8AC3E}">
        <p14:creationId xmlns:p14="http://schemas.microsoft.com/office/powerpoint/2010/main" val="30823084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ar-S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ar-S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C9E9F-AD4D-4254-B600-7E9E07D596F6}" type="datetimeFigureOut">
              <a:rPr lang="ar-SA" smtClean="0"/>
              <a:t>29/06/44</a:t>
            </a:fld>
            <a:endParaRPr lang="ar-S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S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F2ABA-27A1-4ABB-A39F-C7C91BDF9C08}" type="slidenum">
              <a:rPr lang="ar-SA" smtClean="0"/>
              <a:t>‹#›</a:t>
            </a:fld>
            <a:endParaRPr lang="ar-SA"/>
          </a:p>
        </p:txBody>
      </p:sp>
    </p:spTree>
    <p:extLst>
      <p:ext uri="{BB962C8B-B14F-4D97-AF65-F5344CB8AC3E}">
        <p14:creationId xmlns:p14="http://schemas.microsoft.com/office/powerpoint/2010/main" val="39027003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ar-S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ar-S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C9E9F-AD4D-4254-B600-7E9E07D596F6}" type="datetimeFigureOut">
              <a:rPr lang="ar-SA" smtClean="0"/>
              <a:t>29/06/44</a:t>
            </a:fld>
            <a:endParaRPr lang="ar-S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S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F2ABA-27A1-4ABB-A39F-C7C91BDF9C08}" type="slidenum">
              <a:rPr lang="ar-SA" smtClean="0"/>
              <a:t>‹#›</a:t>
            </a:fld>
            <a:endParaRPr lang="ar-SA"/>
          </a:p>
        </p:txBody>
      </p:sp>
    </p:spTree>
    <p:extLst>
      <p:ext uri="{BB962C8B-B14F-4D97-AF65-F5344CB8AC3E}">
        <p14:creationId xmlns:p14="http://schemas.microsoft.com/office/powerpoint/2010/main" val="8296888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16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ar-S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ar-S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3C9E9F-AD4D-4254-B600-7E9E07D596F6}" type="datetimeFigureOut">
              <a:rPr lang="ar-SA" smtClean="0"/>
              <a:t>29/06/44</a:t>
            </a:fld>
            <a:endParaRPr lang="ar-S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ar-S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6F2ABA-27A1-4ABB-A39F-C7C91BDF9C08}" type="slidenum">
              <a:rPr lang="ar-SA" smtClean="0"/>
              <a:t>‹#›</a:t>
            </a:fld>
            <a:endParaRPr lang="ar-SA"/>
          </a:p>
        </p:txBody>
      </p:sp>
    </p:spTree>
    <p:extLst>
      <p:ext uri="{BB962C8B-B14F-4D97-AF65-F5344CB8AC3E}">
        <p14:creationId xmlns:p14="http://schemas.microsoft.com/office/powerpoint/2010/main" val="1558700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ar-S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69411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4">
          <p15:clr>
            <a:srgbClr val="F26B43"/>
          </p15:clr>
        </p15:guide>
        <p15:guide id="2" pos="189">
          <p15:clr>
            <a:srgbClr val="F26B43"/>
          </p15:clr>
        </p15:guide>
        <p15:guide id="3" orient="horz" pos="4156">
          <p15:clr>
            <a:srgbClr val="F26B43"/>
          </p15:clr>
        </p15:guide>
        <p15:guide id="4" pos="749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1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0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1.x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2.x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3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4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5.xml"/><Relationship Id="rId6" Type="http://schemas.openxmlformats.org/officeDocument/2006/relationships/image" Target="../media/image2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6.xml"/><Relationship Id="rId6" Type="http://schemas.openxmlformats.org/officeDocument/2006/relationships/image" Target="../media/image2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23.sv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7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25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23.sv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8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10" Type="http://schemas.openxmlformats.org/officeDocument/2006/relationships/image" Target="../media/image28.pn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27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9.xml"/><Relationship Id="rId6" Type="http://schemas.openxmlformats.org/officeDocument/2006/relationships/image" Target="../media/image2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2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0.xml"/><Relationship Id="rId6" Type="http://schemas.openxmlformats.org/officeDocument/2006/relationships/image" Target="../media/image3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7" Type="http://schemas.openxmlformats.org/officeDocument/2006/relationships/image" Target="../media/image34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1.xml"/><Relationship Id="rId6" Type="http://schemas.openxmlformats.org/officeDocument/2006/relationships/image" Target="../media/image3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2.xml"/><Relationship Id="rId6" Type="http://schemas.openxmlformats.org/officeDocument/2006/relationships/image" Target="../media/image3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3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10" Type="http://schemas.openxmlformats.org/officeDocument/2006/relationships/image" Target="../media/image23.sv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22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notesSlide" Target="../notesSlides/notesSlide24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4.xml"/><Relationship Id="rId6" Type="http://schemas.openxmlformats.org/officeDocument/2006/relationships/image" Target="../media/image9.png"/><Relationship Id="rId11" Type="http://schemas.openxmlformats.org/officeDocument/2006/relationships/image" Target="../media/image38.png"/><Relationship Id="rId5" Type="http://schemas.openxmlformats.org/officeDocument/2006/relationships/image" Target="../media/image1.emf"/><Relationship Id="rId10" Type="http://schemas.openxmlformats.org/officeDocument/2006/relationships/image" Target="../media/image37.pn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23.sv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notesSlide" Target="../notesSlides/notesSlide25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5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10" Type="http://schemas.openxmlformats.org/officeDocument/2006/relationships/image" Target="../media/image39.pn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23.sv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notesSlide" Target="../notesSlides/notesSlide26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6.xml"/><Relationship Id="rId6" Type="http://schemas.openxmlformats.org/officeDocument/2006/relationships/image" Target="../media/image9.png"/><Relationship Id="rId11" Type="http://schemas.openxmlformats.org/officeDocument/2006/relationships/image" Target="../media/image41.png"/><Relationship Id="rId5" Type="http://schemas.openxmlformats.org/officeDocument/2006/relationships/image" Target="../media/image1.emf"/><Relationship Id="rId10" Type="http://schemas.openxmlformats.org/officeDocument/2006/relationships/image" Target="../media/image40.pn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23.sv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37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notesSlide" Target="../notesSlides/notesSlide28.xml"/><Relationship Id="rId7" Type="http://schemas.openxmlformats.org/officeDocument/2006/relationships/image" Target="../media/image42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8.xml"/><Relationship Id="rId6" Type="http://schemas.openxmlformats.org/officeDocument/2006/relationships/hyperlink" Target="https://wordwall.net/ar/resource/50679395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39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3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7" Type="http://schemas.openxmlformats.org/officeDocument/2006/relationships/image" Target="../media/image44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40.xml"/><Relationship Id="rId6" Type="http://schemas.openxmlformats.org/officeDocument/2006/relationships/hyperlink" Target="https://youtu.be/6_AxUtRQps8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41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42.xml"/><Relationship Id="rId6" Type="http://schemas.openxmlformats.org/officeDocument/2006/relationships/image" Target="../media/image4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4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5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6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7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8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9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1.emf"/><Relationship Id="rId10" Type="http://schemas.openxmlformats.org/officeDocument/2006/relationships/image" Target="../media/image12.png"/><Relationship Id="rId4" Type="http://schemas.openxmlformats.org/officeDocument/2006/relationships/oleObject" Target="../embeddings/oleObject15.bin"/><Relationship Id="rId9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" t="12192" r="354" b="4034"/>
          <a:stretch/>
        </p:blipFill>
        <p:spPr/>
      </p:pic>
      <p:sp>
        <p:nvSpPr>
          <p:cNvPr id="24" name="Rectangle 23"/>
          <p:cNvSpPr/>
          <p:nvPr/>
        </p:nvSpPr>
        <p:spPr>
          <a:xfrm flipH="1">
            <a:off x="0" y="-8549"/>
            <a:ext cx="4813310" cy="6866549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t-LT" sz="3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25" name="Rectangle 24"/>
          <p:cNvSpPr/>
          <p:nvPr/>
        </p:nvSpPr>
        <p:spPr>
          <a:xfrm flipH="1">
            <a:off x="405234" y="3260631"/>
            <a:ext cx="4243980" cy="13542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44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 Jannat LT" panose="01000000000000000000" pitchFamily="2" charset="-78"/>
                <a:ea typeface="+mn-ea"/>
                <a:cs typeface="A Jannat LT" panose="01000000000000000000" pitchFamily="2" charset="-78"/>
              </a:rPr>
              <a:t>مراجعة الدرس السابق </a:t>
            </a:r>
            <a:endParaRPr kumimoji="0" lang="ko-KR" altLang="en-US" sz="44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 Jannat LT" panose="01000000000000000000" pitchFamily="2" charset="-78"/>
              <a:ea typeface="+mn-ea"/>
              <a:cs typeface="A Jannat LT" panose="01000000000000000000" pitchFamily="2" charset="-78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365794" y="326495"/>
            <a:ext cx="5258752" cy="5886943"/>
          </a:xfrm>
          <a:prstGeom prst="rect">
            <a:avLst/>
          </a:prstGeom>
          <a:noFill/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>
            <a:off x="3553143" y="1503563"/>
            <a:ext cx="72778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val 41"/>
          <p:cNvSpPr/>
          <p:nvPr/>
        </p:nvSpPr>
        <p:spPr>
          <a:xfrm>
            <a:off x="7566223" y="1984881"/>
            <a:ext cx="2876544" cy="2876544"/>
          </a:xfrm>
          <a:prstGeom prst="ellipse">
            <a:avLst/>
          </a:prstGeom>
          <a:noFill/>
          <a:ln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3" name="Oval 32"/>
          <p:cNvSpPr/>
          <p:nvPr/>
        </p:nvSpPr>
        <p:spPr>
          <a:xfrm>
            <a:off x="7521610" y="1940268"/>
            <a:ext cx="2965768" cy="2965768"/>
          </a:xfrm>
          <a:prstGeom prst="ellipse">
            <a:avLst/>
          </a:prstGeom>
          <a:noFill/>
          <a:ln w="317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7396887" y="2379990"/>
            <a:ext cx="666045" cy="66604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4" name="Oval 33"/>
          <p:cNvSpPr/>
          <p:nvPr/>
        </p:nvSpPr>
        <p:spPr>
          <a:xfrm>
            <a:off x="7339912" y="3203019"/>
            <a:ext cx="384884" cy="38488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5" name="Oval 34"/>
          <p:cNvSpPr/>
          <p:nvPr/>
        </p:nvSpPr>
        <p:spPr>
          <a:xfrm>
            <a:off x="7944038" y="2116156"/>
            <a:ext cx="297701" cy="2977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6" name="Oval 35"/>
          <p:cNvSpPr/>
          <p:nvPr/>
        </p:nvSpPr>
        <p:spPr>
          <a:xfrm>
            <a:off x="9781393" y="4242129"/>
            <a:ext cx="474373" cy="47437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7" name="Oval 36"/>
          <p:cNvSpPr/>
          <p:nvPr/>
        </p:nvSpPr>
        <p:spPr>
          <a:xfrm>
            <a:off x="10169141" y="4011741"/>
            <a:ext cx="278538" cy="27853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8" name="Oval 37"/>
          <p:cNvSpPr/>
          <p:nvPr/>
        </p:nvSpPr>
        <p:spPr>
          <a:xfrm>
            <a:off x="9632542" y="2064962"/>
            <a:ext cx="297701" cy="2977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9" name="Oval 38"/>
          <p:cNvSpPr/>
          <p:nvPr/>
        </p:nvSpPr>
        <p:spPr>
          <a:xfrm>
            <a:off x="9958065" y="2297680"/>
            <a:ext cx="164620" cy="16462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0" name="Oval 39"/>
          <p:cNvSpPr/>
          <p:nvPr/>
        </p:nvSpPr>
        <p:spPr>
          <a:xfrm>
            <a:off x="8159429" y="4589036"/>
            <a:ext cx="164620" cy="16462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1" name="Oval 40"/>
          <p:cNvSpPr/>
          <p:nvPr/>
        </p:nvSpPr>
        <p:spPr>
          <a:xfrm>
            <a:off x="8357684" y="4512788"/>
            <a:ext cx="658099" cy="6580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8" name="Freeform 13"/>
          <p:cNvSpPr>
            <a:spLocks noEditPoints="1"/>
          </p:cNvSpPr>
          <p:nvPr/>
        </p:nvSpPr>
        <p:spPr bwMode="auto">
          <a:xfrm>
            <a:off x="3988167" y="5269688"/>
            <a:ext cx="687257" cy="776288"/>
          </a:xfrm>
          <a:custGeom>
            <a:avLst/>
            <a:gdLst>
              <a:gd name="T0" fmla="*/ 435 w 1487"/>
              <a:gd name="T1" fmla="*/ 1680 h 1680"/>
              <a:gd name="T2" fmla="*/ 346 w 1487"/>
              <a:gd name="T3" fmla="*/ 1283 h 1680"/>
              <a:gd name="T4" fmla="*/ 627 w 1487"/>
              <a:gd name="T5" fmla="*/ 1194 h 1680"/>
              <a:gd name="T6" fmla="*/ 654 w 1487"/>
              <a:gd name="T7" fmla="*/ 1074 h 1680"/>
              <a:gd name="T8" fmla="*/ 299 w 1487"/>
              <a:gd name="T9" fmla="*/ 672 h 1680"/>
              <a:gd name="T10" fmla="*/ 66 w 1487"/>
              <a:gd name="T11" fmla="*/ 441 h 1680"/>
              <a:gd name="T12" fmla="*/ 252 w 1487"/>
              <a:gd name="T13" fmla="*/ 0 h 1680"/>
              <a:gd name="T14" fmla="*/ 979 w 1487"/>
              <a:gd name="T15" fmla="*/ 14 h 1680"/>
              <a:gd name="T16" fmla="*/ 252 w 1487"/>
              <a:gd name="T17" fmla="*/ 28 h 1680"/>
              <a:gd name="T18" fmla="*/ 90 w 1487"/>
              <a:gd name="T19" fmla="*/ 426 h 1680"/>
              <a:gd name="T20" fmla="*/ 327 w 1487"/>
              <a:gd name="T21" fmla="*/ 668 h 1680"/>
              <a:gd name="T22" fmla="*/ 682 w 1487"/>
              <a:gd name="T23" fmla="*/ 1074 h 1680"/>
              <a:gd name="T24" fmla="*/ 627 w 1487"/>
              <a:gd name="T25" fmla="*/ 1222 h 1680"/>
              <a:gd name="T26" fmla="*/ 374 w 1487"/>
              <a:gd name="T27" fmla="*/ 1283 h 1680"/>
              <a:gd name="T28" fmla="*/ 435 w 1487"/>
              <a:gd name="T29" fmla="*/ 1652 h 1680"/>
              <a:gd name="T30" fmla="*/ 1113 w 1487"/>
              <a:gd name="T31" fmla="*/ 1591 h 1680"/>
              <a:gd name="T32" fmla="*/ 1051 w 1487"/>
              <a:gd name="T33" fmla="*/ 1222 h 1680"/>
              <a:gd name="T34" fmla="*/ 804 w 1487"/>
              <a:gd name="T35" fmla="*/ 1167 h 1680"/>
              <a:gd name="T36" fmla="*/ 845 w 1487"/>
              <a:gd name="T37" fmla="*/ 1024 h 1680"/>
              <a:gd name="T38" fmla="*/ 1005 w 1487"/>
              <a:gd name="T39" fmla="*/ 963 h 1680"/>
              <a:gd name="T40" fmla="*/ 851 w 1487"/>
              <a:gd name="T41" fmla="*/ 1051 h 1680"/>
              <a:gd name="T42" fmla="*/ 832 w 1487"/>
              <a:gd name="T43" fmla="*/ 1167 h 1680"/>
              <a:gd name="T44" fmla="*/ 1051 w 1487"/>
              <a:gd name="T45" fmla="*/ 1194 h 1680"/>
              <a:gd name="T46" fmla="*/ 1141 w 1487"/>
              <a:gd name="T47" fmla="*/ 1591 h 1680"/>
              <a:gd name="T48" fmla="*/ 1109 w 1487"/>
              <a:gd name="T49" fmla="*/ 864 h 1680"/>
              <a:gd name="T50" fmla="*/ 1097 w 1487"/>
              <a:gd name="T51" fmla="*/ 842 h 1680"/>
              <a:gd name="T52" fmla="*/ 1140 w 1487"/>
              <a:gd name="T53" fmla="*/ 793 h 1680"/>
              <a:gd name="T54" fmla="*/ 1121 w 1487"/>
              <a:gd name="T55" fmla="*/ 857 h 1680"/>
              <a:gd name="T56" fmla="*/ 1160 w 1487"/>
              <a:gd name="T57" fmla="*/ 754 h 1680"/>
              <a:gd name="T58" fmla="*/ 1146 w 1487"/>
              <a:gd name="T59" fmla="*/ 736 h 1680"/>
              <a:gd name="T60" fmla="*/ 1192 w 1487"/>
              <a:gd name="T61" fmla="*/ 618 h 1680"/>
              <a:gd name="T62" fmla="*/ 1442 w 1487"/>
              <a:gd name="T63" fmla="*/ 197 h 1680"/>
              <a:gd name="T64" fmla="*/ 1235 w 1487"/>
              <a:gd name="T65" fmla="*/ 28 h 1680"/>
              <a:gd name="T66" fmla="*/ 1235 w 1487"/>
              <a:gd name="T67" fmla="*/ 0 h 1680"/>
              <a:gd name="T68" fmla="*/ 1469 w 1487"/>
              <a:gd name="T69" fmla="*/ 190 h 1680"/>
              <a:gd name="T70" fmla="*/ 1207 w 1487"/>
              <a:gd name="T71" fmla="*/ 642 h 1680"/>
              <a:gd name="T72" fmla="*/ 1173 w 1487"/>
              <a:gd name="T73" fmla="*/ 744 h 1680"/>
              <a:gd name="T74" fmla="*/ 285 w 1487"/>
              <a:gd name="T75" fmla="*/ 450 h 1680"/>
              <a:gd name="T76" fmla="*/ 163 w 1487"/>
              <a:gd name="T77" fmla="*/ 227 h 1680"/>
              <a:gd name="T78" fmla="*/ 252 w 1487"/>
              <a:gd name="T79" fmla="*/ 150 h 1680"/>
              <a:gd name="T80" fmla="*/ 323 w 1487"/>
              <a:gd name="T81" fmla="*/ 412 h 1680"/>
              <a:gd name="T82" fmla="*/ 285 w 1487"/>
              <a:gd name="T83" fmla="*/ 450 h 1680"/>
              <a:gd name="T84" fmla="*/ 278 w 1487"/>
              <a:gd name="T85" fmla="*/ 419 h 1680"/>
              <a:gd name="T86" fmla="*/ 295 w 1487"/>
              <a:gd name="T87" fmla="*/ 412 h 1680"/>
              <a:gd name="T88" fmla="*/ 252 w 1487"/>
              <a:gd name="T89" fmla="*/ 178 h 1680"/>
              <a:gd name="T90" fmla="*/ 1202 w 1487"/>
              <a:gd name="T91" fmla="*/ 449 h 1680"/>
              <a:gd name="T92" fmla="*/ 1164 w 1487"/>
              <a:gd name="T93" fmla="*/ 411 h 1680"/>
              <a:gd name="T94" fmla="*/ 1235 w 1487"/>
              <a:gd name="T95" fmla="*/ 150 h 1680"/>
              <a:gd name="T96" fmla="*/ 1228 w 1487"/>
              <a:gd name="T97" fmla="*/ 439 h 1680"/>
              <a:gd name="T98" fmla="*/ 1192 w 1487"/>
              <a:gd name="T99" fmla="*/ 178 h 1680"/>
              <a:gd name="T100" fmla="*/ 1198 w 1487"/>
              <a:gd name="T101" fmla="*/ 420 h 1680"/>
              <a:gd name="T102" fmla="*/ 1296 w 1487"/>
              <a:gd name="T103" fmla="*/ 234 h 1680"/>
              <a:gd name="T104" fmla="*/ 1192 w 1487"/>
              <a:gd name="T105" fmla="*/ 178 h 1680"/>
              <a:gd name="T106" fmla="*/ 1055 w 1487"/>
              <a:gd name="T107" fmla="*/ 28 h 1680"/>
              <a:gd name="T108" fmla="*/ 1055 w 1487"/>
              <a:gd name="T109" fmla="*/ 0 h 1680"/>
              <a:gd name="T110" fmla="*/ 1179 w 1487"/>
              <a:gd name="T111" fmla="*/ 14 h 1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487" h="1680">
                <a:moveTo>
                  <a:pt x="1051" y="1680"/>
                </a:moveTo>
                <a:cubicBezTo>
                  <a:pt x="435" y="1680"/>
                  <a:pt x="435" y="1680"/>
                  <a:pt x="435" y="1680"/>
                </a:cubicBezTo>
                <a:cubicBezTo>
                  <a:pt x="386" y="1680"/>
                  <a:pt x="346" y="1640"/>
                  <a:pt x="346" y="1591"/>
                </a:cubicBezTo>
                <a:cubicBezTo>
                  <a:pt x="346" y="1283"/>
                  <a:pt x="346" y="1283"/>
                  <a:pt x="346" y="1283"/>
                </a:cubicBezTo>
                <a:cubicBezTo>
                  <a:pt x="346" y="1234"/>
                  <a:pt x="386" y="1194"/>
                  <a:pt x="435" y="1194"/>
                </a:cubicBezTo>
                <a:cubicBezTo>
                  <a:pt x="627" y="1194"/>
                  <a:pt x="627" y="1194"/>
                  <a:pt x="627" y="1194"/>
                </a:cubicBezTo>
                <a:cubicBezTo>
                  <a:pt x="642" y="1194"/>
                  <a:pt x="654" y="1182"/>
                  <a:pt x="654" y="1167"/>
                </a:cubicBezTo>
                <a:cubicBezTo>
                  <a:pt x="654" y="1074"/>
                  <a:pt x="654" y="1074"/>
                  <a:pt x="654" y="1074"/>
                </a:cubicBezTo>
                <a:cubicBezTo>
                  <a:pt x="654" y="1063"/>
                  <a:pt x="647" y="1053"/>
                  <a:pt x="635" y="1051"/>
                </a:cubicBezTo>
                <a:cubicBezTo>
                  <a:pt x="457" y="1006"/>
                  <a:pt x="322" y="854"/>
                  <a:pt x="299" y="672"/>
                </a:cubicBezTo>
                <a:cubicBezTo>
                  <a:pt x="298" y="660"/>
                  <a:pt x="291" y="649"/>
                  <a:pt x="280" y="643"/>
                </a:cubicBezTo>
                <a:cubicBezTo>
                  <a:pt x="184" y="582"/>
                  <a:pt x="111" y="514"/>
                  <a:pt x="66" y="441"/>
                </a:cubicBezTo>
                <a:cubicBezTo>
                  <a:pt x="0" y="336"/>
                  <a:pt x="4" y="247"/>
                  <a:pt x="18" y="190"/>
                </a:cubicBezTo>
                <a:cubicBezTo>
                  <a:pt x="47" y="78"/>
                  <a:pt x="143" y="0"/>
                  <a:pt x="252" y="0"/>
                </a:cubicBezTo>
                <a:cubicBezTo>
                  <a:pt x="965" y="0"/>
                  <a:pt x="965" y="0"/>
                  <a:pt x="965" y="0"/>
                </a:cubicBezTo>
                <a:cubicBezTo>
                  <a:pt x="973" y="0"/>
                  <a:pt x="979" y="6"/>
                  <a:pt x="979" y="14"/>
                </a:cubicBezTo>
                <a:cubicBezTo>
                  <a:pt x="979" y="22"/>
                  <a:pt x="973" y="28"/>
                  <a:pt x="965" y="28"/>
                </a:cubicBezTo>
                <a:cubicBezTo>
                  <a:pt x="252" y="28"/>
                  <a:pt x="252" y="28"/>
                  <a:pt x="252" y="28"/>
                </a:cubicBezTo>
                <a:cubicBezTo>
                  <a:pt x="156" y="28"/>
                  <a:pt x="71" y="98"/>
                  <a:pt x="45" y="197"/>
                </a:cubicBezTo>
                <a:cubicBezTo>
                  <a:pt x="32" y="248"/>
                  <a:pt x="29" y="330"/>
                  <a:pt x="90" y="426"/>
                </a:cubicBezTo>
                <a:cubicBezTo>
                  <a:pt x="133" y="495"/>
                  <a:pt x="202" y="560"/>
                  <a:pt x="295" y="619"/>
                </a:cubicBezTo>
                <a:cubicBezTo>
                  <a:pt x="313" y="630"/>
                  <a:pt x="324" y="648"/>
                  <a:pt x="327" y="668"/>
                </a:cubicBezTo>
                <a:cubicBezTo>
                  <a:pt x="348" y="839"/>
                  <a:pt x="475" y="982"/>
                  <a:pt x="642" y="1023"/>
                </a:cubicBezTo>
                <a:cubicBezTo>
                  <a:pt x="666" y="1029"/>
                  <a:pt x="682" y="1050"/>
                  <a:pt x="682" y="1074"/>
                </a:cubicBezTo>
                <a:cubicBezTo>
                  <a:pt x="682" y="1167"/>
                  <a:pt x="682" y="1167"/>
                  <a:pt x="682" y="1167"/>
                </a:cubicBezTo>
                <a:cubicBezTo>
                  <a:pt x="682" y="1197"/>
                  <a:pt x="658" y="1222"/>
                  <a:pt x="627" y="1222"/>
                </a:cubicBezTo>
                <a:cubicBezTo>
                  <a:pt x="435" y="1222"/>
                  <a:pt x="435" y="1222"/>
                  <a:pt x="435" y="1222"/>
                </a:cubicBezTo>
                <a:cubicBezTo>
                  <a:pt x="402" y="1222"/>
                  <a:pt x="374" y="1249"/>
                  <a:pt x="374" y="1283"/>
                </a:cubicBezTo>
                <a:cubicBezTo>
                  <a:pt x="374" y="1591"/>
                  <a:pt x="374" y="1591"/>
                  <a:pt x="374" y="1591"/>
                </a:cubicBezTo>
                <a:cubicBezTo>
                  <a:pt x="374" y="1625"/>
                  <a:pt x="402" y="1652"/>
                  <a:pt x="435" y="1652"/>
                </a:cubicBezTo>
                <a:cubicBezTo>
                  <a:pt x="1051" y="1652"/>
                  <a:pt x="1051" y="1652"/>
                  <a:pt x="1051" y="1652"/>
                </a:cubicBezTo>
                <a:cubicBezTo>
                  <a:pt x="1085" y="1652"/>
                  <a:pt x="1113" y="1625"/>
                  <a:pt x="1113" y="1591"/>
                </a:cubicBezTo>
                <a:cubicBezTo>
                  <a:pt x="1113" y="1283"/>
                  <a:pt x="1113" y="1283"/>
                  <a:pt x="1113" y="1283"/>
                </a:cubicBezTo>
                <a:cubicBezTo>
                  <a:pt x="1113" y="1249"/>
                  <a:pt x="1085" y="1222"/>
                  <a:pt x="1051" y="1222"/>
                </a:cubicBezTo>
                <a:cubicBezTo>
                  <a:pt x="860" y="1222"/>
                  <a:pt x="860" y="1222"/>
                  <a:pt x="860" y="1222"/>
                </a:cubicBezTo>
                <a:cubicBezTo>
                  <a:pt x="829" y="1222"/>
                  <a:pt x="804" y="1197"/>
                  <a:pt x="804" y="1167"/>
                </a:cubicBezTo>
                <a:cubicBezTo>
                  <a:pt x="804" y="1075"/>
                  <a:pt x="804" y="1075"/>
                  <a:pt x="804" y="1075"/>
                </a:cubicBezTo>
                <a:cubicBezTo>
                  <a:pt x="804" y="1050"/>
                  <a:pt x="821" y="1029"/>
                  <a:pt x="845" y="1024"/>
                </a:cubicBezTo>
                <a:cubicBezTo>
                  <a:pt x="895" y="1011"/>
                  <a:pt x="942" y="990"/>
                  <a:pt x="985" y="960"/>
                </a:cubicBezTo>
                <a:cubicBezTo>
                  <a:pt x="991" y="955"/>
                  <a:pt x="1000" y="957"/>
                  <a:pt x="1005" y="963"/>
                </a:cubicBezTo>
                <a:cubicBezTo>
                  <a:pt x="1009" y="969"/>
                  <a:pt x="1007" y="978"/>
                  <a:pt x="1001" y="982"/>
                </a:cubicBezTo>
                <a:cubicBezTo>
                  <a:pt x="956" y="1014"/>
                  <a:pt x="905" y="1037"/>
                  <a:pt x="851" y="1051"/>
                </a:cubicBezTo>
                <a:cubicBezTo>
                  <a:pt x="840" y="1054"/>
                  <a:pt x="832" y="1063"/>
                  <a:pt x="832" y="1075"/>
                </a:cubicBezTo>
                <a:cubicBezTo>
                  <a:pt x="832" y="1167"/>
                  <a:pt x="832" y="1167"/>
                  <a:pt x="832" y="1167"/>
                </a:cubicBezTo>
                <a:cubicBezTo>
                  <a:pt x="832" y="1182"/>
                  <a:pt x="845" y="1194"/>
                  <a:pt x="860" y="1194"/>
                </a:cubicBezTo>
                <a:cubicBezTo>
                  <a:pt x="1051" y="1194"/>
                  <a:pt x="1051" y="1194"/>
                  <a:pt x="1051" y="1194"/>
                </a:cubicBezTo>
                <a:cubicBezTo>
                  <a:pt x="1101" y="1194"/>
                  <a:pt x="1141" y="1234"/>
                  <a:pt x="1141" y="1283"/>
                </a:cubicBezTo>
                <a:cubicBezTo>
                  <a:pt x="1141" y="1591"/>
                  <a:pt x="1141" y="1591"/>
                  <a:pt x="1141" y="1591"/>
                </a:cubicBezTo>
                <a:cubicBezTo>
                  <a:pt x="1141" y="1640"/>
                  <a:pt x="1101" y="1680"/>
                  <a:pt x="1051" y="1680"/>
                </a:cubicBezTo>
                <a:close/>
                <a:moveTo>
                  <a:pt x="1109" y="864"/>
                </a:moveTo>
                <a:cubicBezTo>
                  <a:pt x="1107" y="864"/>
                  <a:pt x="1104" y="863"/>
                  <a:pt x="1102" y="862"/>
                </a:cubicBezTo>
                <a:cubicBezTo>
                  <a:pt x="1095" y="858"/>
                  <a:pt x="1093" y="849"/>
                  <a:pt x="1097" y="842"/>
                </a:cubicBezTo>
                <a:cubicBezTo>
                  <a:pt x="1106" y="828"/>
                  <a:pt x="1115" y="814"/>
                  <a:pt x="1122" y="799"/>
                </a:cubicBezTo>
                <a:cubicBezTo>
                  <a:pt x="1125" y="792"/>
                  <a:pt x="1134" y="789"/>
                  <a:pt x="1140" y="793"/>
                </a:cubicBezTo>
                <a:cubicBezTo>
                  <a:pt x="1147" y="796"/>
                  <a:pt x="1150" y="804"/>
                  <a:pt x="1147" y="811"/>
                </a:cubicBezTo>
                <a:cubicBezTo>
                  <a:pt x="1139" y="827"/>
                  <a:pt x="1130" y="843"/>
                  <a:pt x="1121" y="857"/>
                </a:cubicBezTo>
                <a:cubicBezTo>
                  <a:pt x="1118" y="862"/>
                  <a:pt x="1114" y="864"/>
                  <a:pt x="1109" y="864"/>
                </a:cubicBezTo>
                <a:close/>
                <a:moveTo>
                  <a:pt x="1160" y="754"/>
                </a:moveTo>
                <a:cubicBezTo>
                  <a:pt x="1159" y="754"/>
                  <a:pt x="1157" y="754"/>
                  <a:pt x="1156" y="753"/>
                </a:cubicBezTo>
                <a:cubicBezTo>
                  <a:pt x="1148" y="751"/>
                  <a:pt x="1144" y="743"/>
                  <a:pt x="1146" y="736"/>
                </a:cubicBezTo>
                <a:cubicBezTo>
                  <a:pt x="1153" y="714"/>
                  <a:pt x="1158" y="691"/>
                  <a:pt x="1161" y="668"/>
                </a:cubicBezTo>
                <a:cubicBezTo>
                  <a:pt x="1163" y="647"/>
                  <a:pt x="1175" y="629"/>
                  <a:pt x="1192" y="618"/>
                </a:cubicBezTo>
                <a:cubicBezTo>
                  <a:pt x="1285" y="560"/>
                  <a:pt x="1354" y="495"/>
                  <a:pt x="1397" y="426"/>
                </a:cubicBezTo>
                <a:cubicBezTo>
                  <a:pt x="1458" y="330"/>
                  <a:pt x="1455" y="248"/>
                  <a:pt x="1442" y="197"/>
                </a:cubicBezTo>
                <a:cubicBezTo>
                  <a:pt x="1421" y="118"/>
                  <a:pt x="1362" y="55"/>
                  <a:pt x="1287" y="35"/>
                </a:cubicBezTo>
                <a:cubicBezTo>
                  <a:pt x="1270" y="30"/>
                  <a:pt x="1252" y="28"/>
                  <a:pt x="1235" y="28"/>
                </a:cubicBezTo>
                <a:cubicBezTo>
                  <a:pt x="1227" y="28"/>
                  <a:pt x="1221" y="22"/>
                  <a:pt x="1221" y="14"/>
                </a:cubicBezTo>
                <a:cubicBezTo>
                  <a:pt x="1221" y="6"/>
                  <a:pt x="1227" y="0"/>
                  <a:pt x="1235" y="0"/>
                </a:cubicBezTo>
                <a:cubicBezTo>
                  <a:pt x="1255" y="0"/>
                  <a:pt x="1275" y="3"/>
                  <a:pt x="1294" y="8"/>
                </a:cubicBezTo>
                <a:cubicBezTo>
                  <a:pt x="1379" y="31"/>
                  <a:pt x="1446" y="101"/>
                  <a:pt x="1469" y="190"/>
                </a:cubicBezTo>
                <a:cubicBezTo>
                  <a:pt x="1483" y="247"/>
                  <a:pt x="1487" y="336"/>
                  <a:pt x="1421" y="441"/>
                </a:cubicBezTo>
                <a:cubicBezTo>
                  <a:pt x="1375" y="514"/>
                  <a:pt x="1303" y="581"/>
                  <a:pt x="1207" y="642"/>
                </a:cubicBezTo>
                <a:cubicBezTo>
                  <a:pt x="1197" y="649"/>
                  <a:pt x="1190" y="659"/>
                  <a:pt x="1188" y="671"/>
                </a:cubicBezTo>
                <a:cubicBezTo>
                  <a:pt x="1185" y="696"/>
                  <a:pt x="1180" y="720"/>
                  <a:pt x="1173" y="744"/>
                </a:cubicBezTo>
                <a:cubicBezTo>
                  <a:pt x="1171" y="750"/>
                  <a:pt x="1166" y="754"/>
                  <a:pt x="1160" y="754"/>
                </a:cubicBezTo>
                <a:close/>
                <a:moveTo>
                  <a:pt x="285" y="450"/>
                </a:moveTo>
                <a:cubicBezTo>
                  <a:pt x="276" y="450"/>
                  <a:pt x="267" y="446"/>
                  <a:pt x="259" y="439"/>
                </a:cubicBezTo>
                <a:cubicBezTo>
                  <a:pt x="182" y="368"/>
                  <a:pt x="147" y="291"/>
                  <a:pt x="163" y="227"/>
                </a:cubicBezTo>
                <a:cubicBezTo>
                  <a:pt x="163" y="227"/>
                  <a:pt x="163" y="227"/>
                  <a:pt x="163" y="227"/>
                </a:cubicBezTo>
                <a:cubicBezTo>
                  <a:pt x="176" y="177"/>
                  <a:pt x="218" y="150"/>
                  <a:pt x="252" y="150"/>
                </a:cubicBezTo>
                <a:cubicBezTo>
                  <a:pt x="323" y="150"/>
                  <a:pt x="323" y="150"/>
                  <a:pt x="323" y="150"/>
                </a:cubicBezTo>
                <a:cubicBezTo>
                  <a:pt x="323" y="412"/>
                  <a:pt x="323" y="412"/>
                  <a:pt x="323" y="412"/>
                </a:cubicBezTo>
                <a:cubicBezTo>
                  <a:pt x="323" y="427"/>
                  <a:pt x="315" y="440"/>
                  <a:pt x="301" y="446"/>
                </a:cubicBezTo>
                <a:cubicBezTo>
                  <a:pt x="296" y="449"/>
                  <a:pt x="290" y="450"/>
                  <a:pt x="285" y="450"/>
                </a:cubicBezTo>
                <a:close/>
                <a:moveTo>
                  <a:pt x="191" y="234"/>
                </a:moveTo>
                <a:cubicBezTo>
                  <a:pt x="177" y="287"/>
                  <a:pt x="209" y="355"/>
                  <a:pt x="278" y="419"/>
                </a:cubicBezTo>
                <a:cubicBezTo>
                  <a:pt x="283" y="423"/>
                  <a:pt x="288" y="421"/>
                  <a:pt x="289" y="421"/>
                </a:cubicBezTo>
                <a:cubicBezTo>
                  <a:pt x="291" y="420"/>
                  <a:pt x="295" y="417"/>
                  <a:pt x="295" y="412"/>
                </a:cubicBezTo>
                <a:cubicBezTo>
                  <a:pt x="295" y="178"/>
                  <a:pt x="295" y="178"/>
                  <a:pt x="295" y="178"/>
                </a:cubicBezTo>
                <a:cubicBezTo>
                  <a:pt x="252" y="178"/>
                  <a:pt x="252" y="178"/>
                  <a:pt x="252" y="178"/>
                </a:cubicBezTo>
                <a:cubicBezTo>
                  <a:pt x="229" y="178"/>
                  <a:pt x="200" y="197"/>
                  <a:pt x="191" y="234"/>
                </a:cubicBezTo>
                <a:close/>
                <a:moveTo>
                  <a:pt x="1202" y="449"/>
                </a:moveTo>
                <a:cubicBezTo>
                  <a:pt x="1197" y="449"/>
                  <a:pt x="1192" y="448"/>
                  <a:pt x="1187" y="446"/>
                </a:cubicBezTo>
                <a:cubicBezTo>
                  <a:pt x="1173" y="440"/>
                  <a:pt x="1164" y="427"/>
                  <a:pt x="1164" y="411"/>
                </a:cubicBezTo>
                <a:cubicBezTo>
                  <a:pt x="1164" y="150"/>
                  <a:pt x="1164" y="150"/>
                  <a:pt x="1164" y="150"/>
                </a:cubicBezTo>
                <a:cubicBezTo>
                  <a:pt x="1235" y="150"/>
                  <a:pt x="1235" y="150"/>
                  <a:pt x="1235" y="150"/>
                </a:cubicBezTo>
                <a:cubicBezTo>
                  <a:pt x="1269" y="150"/>
                  <a:pt x="1310" y="177"/>
                  <a:pt x="1323" y="227"/>
                </a:cubicBezTo>
                <a:cubicBezTo>
                  <a:pt x="1339" y="291"/>
                  <a:pt x="1305" y="368"/>
                  <a:pt x="1228" y="439"/>
                </a:cubicBezTo>
                <a:cubicBezTo>
                  <a:pt x="1221" y="446"/>
                  <a:pt x="1211" y="449"/>
                  <a:pt x="1202" y="449"/>
                </a:cubicBezTo>
                <a:close/>
                <a:moveTo>
                  <a:pt x="1192" y="178"/>
                </a:moveTo>
                <a:cubicBezTo>
                  <a:pt x="1192" y="411"/>
                  <a:pt x="1192" y="411"/>
                  <a:pt x="1192" y="411"/>
                </a:cubicBezTo>
                <a:cubicBezTo>
                  <a:pt x="1192" y="417"/>
                  <a:pt x="1196" y="420"/>
                  <a:pt x="1198" y="420"/>
                </a:cubicBezTo>
                <a:cubicBezTo>
                  <a:pt x="1199" y="421"/>
                  <a:pt x="1204" y="423"/>
                  <a:pt x="1209" y="418"/>
                </a:cubicBezTo>
                <a:cubicBezTo>
                  <a:pt x="1278" y="354"/>
                  <a:pt x="1310" y="287"/>
                  <a:pt x="1296" y="234"/>
                </a:cubicBezTo>
                <a:cubicBezTo>
                  <a:pt x="1287" y="197"/>
                  <a:pt x="1258" y="178"/>
                  <a:pt x="1235" y="178"/>
                </a:cubicBezTo>
                <a:lnTo>
                  <a:pt x="1192" y="178"/>
                </a:lnTo>
                <a:close/>
                <a:moveTo>
                  <a:pt x="1165" y="28"/>
                </a:moveTo>
                <a:cubicBezTo>
                  <a:pt x="1055" y="28"/>
                  <a:pt x="1055" y="28"/>
                  <a:pt x="1055" y="28"/>
                </a:cubicBezTo>
                <a:cubicBezTo>
                  <a:pt x="1047" y="28"/>
                  <a:pt x="1041" y="22"/>
                  <a:pt x="1041" y="14"/>
                </a:cubicBezTo>
                <a:cubicBezTo>
                  <a:pt x="1041" y="6"/>
                  <a:pt x="1047" y="0"/>
                  <a:pt x="1055" y="0"/>
                </a:cubicBezTo>
                <a:cubicBezTo>
                  <a:pt x="1165" y="0"/>
                  <a:pt x="1165" y="0"/>
                  <a:pt x="1165" y="0"/>
                </a:cubicBezTo>
                <a:cubicBezTo>
                  <a:pt x="1173" y="0"/>
                  <a:pt x="1179" y="6"/>
                  <a:pt x="1179" y="14"/>
                </a:cubicBezTo>
                <a:cubicBezTo>
                  <a:pt x="1179" y="22"/>
                  <a:pt x="1173" y="28"/>
                  <a:pt x="1165" y="28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4" name="Rectangle 43"/>
          <p:cNvSpPr/>
          <p:nvPr/>
        </p:nvSpPr>
        <p:spPr>
          <a:xfrm flipH="1">
            <a:off x="7183351" y="978221"/>
            <a:ext cx="3639463" cy="411022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9900" b="1" i="0" u="none" strike="noStrike" kern="0" cap="all" spc="0" normalizeH="0" baseline="0" noProof="0" dirty="0">
                <a:ln>
                  <a:noFill/>
                </a:ln>
                <a:solidFill>
                  <a:prstClr val="white">
                    <a:alpha val="50000"/>
                  </a:prstClr>
                </a:solidFill>
                <a:effectLst/>
                <a:uLnTx/>
                <a:uFillTx/>
                <a:latin typeface="Source Sans Pro Black" charset="0"/>
                <a:ea typeface="Source Sans Pro Black" charset="0"/>
                <a:cs typeface="Source Sans Pro Black" charset="0"/>
              </a:rPr>
              <a:t>1</a:t>
            </a:r>
            <a:endParaRPr kumimoji="0" lang="lt-LT" sz="19900" b="1" i="0" u="none" strike="noStrike" kern="0" cap="all" spc="0" normalizeH="0" baseline="0" noProof="0" dirty="0">
              <a:ln>
                <a:noFill/>
              </a:ln>
              <a:solidFill>
                <a:prstClr val="white">
                  <a:alpha val="50000"/>
                </a:prstClr>
              </a:solidFill>
              <a:effectLst/>
              <a:uLnTx/>
              <a:uFillTx/>
              <a:latin typeface="Source Sans Pro Black" charset="0"/>
              <a:ea typeface="Source Sans Pro Black" charset="0"/>
              <a:cs typeface="Source Sans Pro Blac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1468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66" name="Content Placeholder 15">
            <a:extLst>
              <a:ext uri="{FF2B5EF4-FFF2-40B4-BE49-F238E27FC236}">
                <a16:creationId xmlns:a16="http://schemas.microsoft.com/office/drawing/2014/main" id="{17C7D2AA-5855-4FAB-9565-361243A59664}"/>
              </a:ext>
            </a:extLst>
          </p:cNvPr>
          <p:cNvSpPr txBox="1">
            <a:spLocks/>
          </p:cNvSpPr>
          <p:nvPr/>
        </p:nvSpPr>
        <p:spPr>
          <a:xfrm>
            <a:off x="8454452" y="358947"/>
            <a:ext cx="3582650" cy="5209096"/>
          </a:xfrm>
          <a:prstGeom prst="rect">
            <a:avLst/>
          </a:prstGeom>
        </p:spPr>
        <p:txBody>
          <a:bodyPr lIns="0" tIns="0" rIns="0" bIns="0">
            <a:normAutofit fontScale="92500" lnSpcReduction="20000"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r>
              <a:rPr lang="ar-SA" altLang="ko-KR" sz="9600" dirty="0">
                <a:solidFill>
                  <a:srgbClr val="FFC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إثراء </a:t>
            </a:r>
          </a:p>
          <a:p>
            <a:pPr algn="r" rtl="1"/>
            <a:r>
              <a:rPr lang="ar-SA" altLang="ko-KR" sz="9600" dirty="0">
                <a:solidFill>
                  <a:srgbClr val="FFC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</a:t>
            </a:r>
          </a:p>
          <a:p>
            <a:pPr algn="r" rtl="1"/>
            <a:r>
              <a:rPr lang="ar-SA" altLang="ko-KR" sz="4400" dirty="0">
                <a:solidFill>
                  <a:srgbClr val="FFC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</a:t>
            </a:r>
            <a:r>
              <a:rPr lang="ar-SA" altLang="ko-KR" dirty="0">
                <a:solidFill>
                  <a:srgbClr val="FFC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بديل تعليمي على الأجهزة الذكية</a:t>
            </a:r>
          </a:p>
          <a:p>
            <a:pPr algn="r" rtl="1"/>
            <a:r>
              <a:rPr lang="ar-SA" altLang="ko-KR" dirty="0">
                <a:solidFill>
                  <a:srgbClr val="FFC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سوف يتم ارسال شروحات لهذا البرنامج  </a:t>
            </a:r>
          </a:p>
          <a:p>
            <a:pPr algn="r" rtl="1"/>
            <a:r>
              <a:rPr lang="ar-SA" altLang="ko-KR" sz="9600" dirty="0">
                <a:solidFill>
                  <a:srgbClr val="FFC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</a:t>
            </a:r>
          </a:p>
          <a:p>
            <a:pPr algn="r" rtl="1"/>
            <a:r>
              <a:rPr lang="ar-SA" altLang="ko-KR" sz="3200" dirty="0">
                <a:solidFill>
                  <a:srgbClr val="FFC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</a:t>
            </a:r>
          </a:p>
          <a:p>
            <a:pPr algn="r" rtl="1"/>
            <a:endParaRPr lang="ko-KR" altLang="en-US" sz="3200" dirty="0">
              <a:solidFill>
                <a:srgbClr val="FFC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BE5BC24-23F8-46AC-8300-D4EC4D70DE63}"/>
              </a:ext>
            </a:extLst>
          </p:cNvPr>
          <p:cNvSpPr/>
          <p:nvPr/>
        </p:nvSpPr>
        <p:spPr>
          <a:xfrm flipH="1">
            <a:off x="2947341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3560F69-CA01-4BA0-A461-FB3A55271037}"/>
              </a:ext>
            </a:extLst>
          </p:cNvPr>
          <p:cNvSpPr/>
          <p:nvPr/>
        </p:nvSpPr>
        <p:spPr>
          <a:xfrm flipH="1" flipV="1">
            <a:off x="8735786" y="1964298"/>
            <a:ext cx="3301316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endParaRPr lang="en-US" sz="1100" dirty="0">
              <a:solidFill>
                <a:schemeClr val="accent3"/>
              </a:solidFill>
              <a:latin typeface="Source Sans Pro Light" panose="020B0403030403020204" pitchFamily="34" charset="-18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16977" y="767695"/>
            <a:ext cx="6275836" cy="248169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80683" y="4310743"/>
            <a:ext cx="1920571" cy="1257300"/>
          </a:xfrm>
          <a:prstGeom prst="rect">
            <a:avLst/>
          </a:prstGeom>
        </p:spPr>
      </p:pic>
      <p:sp>
        <p:nvSpPr>
          <p:cNvPr id="2" name="Rounded Rectangle 1"/>
          <p:cNvSpPr/>
          <p:nvPr/>
        </p:nvSpPr>
        <p:spPr>
          <a:xfrm>
            <a:off x="212270" y="3713438"/>
            <a:ext cx="8056297" cy="157147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r"/>
            <a:r>
              <a:rPr lang="ar-SA" sz="2400" b="1" u="sng" dirty="0">
                <a:solidFill>
                  <a:srgbClr val="0070C0"/>
                </a:solidFill>
              </a:rPr>
              <a:t>بديل تعليمي 1 - موقع أونلاين:</a:t>
            </a:r>
          </a:p>
          <a:p>
            <a:r>
              <a:rPr lang="en-US" sz="2400" b="1" dirty="0">
                <a:solidFill>
                  <a:srgbClr val="C00000"/>
                </a:solidFill>
              </a:rPr>
              <a:t>https://harmash.com/web-editor/?tutorial=html&amp;lesson=html-tags&amp;file=doctype</a:t>
            </a:r>
          </a:p>
          <a:p>
            <a:endParaRPr lang="ar-SA" sz="24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6776509"/>
      </p:ext>
    </p:extLst>
  </p:cSld>
  <p:clrMapOvr>
    <a:masterClrMapping/>
  </p:clrMapOvr>
  <p:transition spd="slow">
    <p:wip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66" name="Content Placeholder 15">
            <a:extLst>
              <a:ext uri="{FF2B5EF4-FFF2-40B4-BE49-F238E27FC236}">
                <a16:creationId xmlns:a16="http://schemas.microsoft.com/office/drawing/2014/main" id="{17C7D2AA-5855-4FAB-9565-361243A59664}"/>
              </a:ext>
            </a:extLst>
          </p:cNvPr>
          <p:cNvSpPr txBox="1">
            <a:spLocks/>
          </p:cNvSpPr>
          <p:nvPr/>
        </p:nvSpPr>
        <p:spPr>
          <a:xfrm>
            <a:off x="8454452" y="358946"/>
            <a:ext cx="3582650" cy="184460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r>
              <a:rPr lang="ar-SA" altLang="ko-KR" sz="3200" dirty="0">
                <a:solidFill>
                  <a:srgbClr val="FFC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ملخص الوسوم ووظيفتها ..</a:t>
            </a:r>
          </a:p>
          <a:p>
            <a:pPr algn="r" rtl="1"/>
            <a:endParaRPr lang="ar-SA" altLang="ko-KR" sz="3200" dirty="0">
              <a:solidFill>
                <a:srgbClr val="FFC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r>
              <a:rPr lang="ar-SA" altLang="ko-KR" sz="3200" dirty="0">
                <a:solidFill>
                  <a:srgbClr val="FFC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</a:t>
            </a:r>
          </a:p>
          <a:p>
            <a:pPr algn="r" rtl="1"/>
            <a:endParaRPr lang="ko-KR" altLang="en-US" sz="3200" dirty="0">
              <a:solidFill>
                <a:srgbClr val="FFC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BE5BC24-23F8-46AC-8300-D4EC4D70DE63}"/>
              </a:ext>
            </a:extLst>
          </p:cNvPr>
          <p:cNvSpPr/>
          <p:nvPr/>
        </p:nvSpPr>
        <p:spPr>
          <a:xfrm flipH="1">
            <a:off x="2947341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3560F69-CA01-4BA0-A461-FB3A55271037}"/>
              </a:ext>
            </a:extLst>
          </p:cNvPr>
          <p:cNvSpPr/>
          <p:nvPr/>
        </p:nvSpPr>
        <p:spPr>
          <a:xfrm flipH="1">
            <a:off x="9537525" y="1460927"/>
            <a:ext cx="2499577" cy="6276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endParaRPr lang="en-US" sz="1100" dirty="0">
              <a:solidFill>
                <a:schemeClr val="accent3"/>
              </a:solidFill>
              <a:latin typeface="Source Sans Pro Light" panose="020B0403030403020204" pitchFamily="34" charset="-18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6"/>
          <a:srcRect t="3369" b="1601"/>
          <a:stretch/>
        </p:blipFill>
        <p:spPr>
          <a:xfrm>
            <a:off x="0" y="172386"/>
            <a:ext cx="8349521" cy="3695075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3867461"/>
            <a:ext cx="8454452" cy="2970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348597"/>
      </p:ext>
    </p:extLst>
  </p:cSld>
  <p:clrMapOvr>
    <a:masterClrMapping/>
  </p:clrMapOvr>
  <p:transition spd="slow">
    <p:wip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66" name="Content Placeholder 15">
            <a:extLst>
              <a:ext uri="{FF2B5EF4-FFF2-40B4-BE49-F238E27FC236}">
                <a16:creationId xmlns:a16="http://schemas.microsoft.com/office/drawing/2014/main" id="{17C7D2AA-5855-4FAB-9565-361243A59664}"/>
              </a:ext>
            </a:extLst>
          </p:cNvPr>
          <p:cNvSpPr txBox="1">
            <a:spLocks/>
          </p:cNvSpPr>
          <p:nvPr/>
        </p:nvSpPr>
        <p:spPr>
          <a:xfrm>
            <a:off x="7769598" y="118218"/>
            <a:ext cx="4352524" cy="344478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ar-SA" altLang="ko-KR" sz="2600" dirty="0">
              <a:solidFill>
                <a:srgbClr val="0070C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ko-KR" altLang="en-US" sz="3200" dirty="0">
              <a:solidFill>
                <a:srgbClr val="FFC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BE5BC24-23F8-46AC-8300-D4EC4D70DE63}"/>
              </a:ext>
            </a:extLst>
          </p:cNvPr>
          <p:cNvSpPr/>
          <p:nvPr/>
        </p:nvSpPr>
        <p:spPr>
          <a:xfrm flipH="1">
            <a:off x="2947341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8858396" y="327733"/>
            <a:ext cx="3041217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ar-SA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وسم  &lt; </a:t>
            </a:r>
            <a:r>
              <a:rPr lang="en-US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input</a:t>
            </a:r>
            <a:r>
              <a:rPr lang="ar-SA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 &gt;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7654" y="163834"/>
            <a:ext cx="8261131" cy="6433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5611912"/>
      </p:ext>
    </p:extLst>
  </p:cSld>
  <p:clrMapOvr>
    <a:masterClrMapping/>
  </p:clrMapOvr>
  <p:transition spd="slow">
    <p:wip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66" name="Content Placeholder 15">
            <a:extLst>
              <a:ext uri="{FF2B5EF4-FFF2-40B4-BE49-F238E27FC236}">
                <a16:creationId xmlns:a16="http://schemas.microsoft.com/office/drawing/2014/main" id="{17C7D2AA-5855-4FAB-9565-361243A59664}"/>
              </a:ext>
            </a:extLst>
          </p:cNvPr>
          <p:cNvSpPr txBox="1">
            <a:spLocks/>
          </p:cNvSpPr>
          <p:nvPr/>
        </p:nvSpPr>
        <p:spPr>
          <a:xfrm>
            <a:off x="7769598" y="118218"/>
            <a:ext cx="4352524" cy="344478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ar-SA" altLang="ko-KR" sz="2600" dirty="0">
              <a:solidFill>
                <a:srgbClr val="0070C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ko-KR" altLang="en-US" sz="3200" dirty="0">
              <a:solidFill>
                <a:srgbClr val="FFC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BE5BC24-23F8-46AC-8300-D4EC4D70DE63}"/>
              </a:ext>
            </a:extLst>
          </p:cNvPr>
          <p:cNvSpPr/>
          <p:nvPr/>
        </p:nvSpPr>
        <p:spPr>
          <a:xfrm flipH="1">
            <a:off x="2947341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8423982" y="327733"/>
            <a:ext cx="347563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ar-SA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وسم  &lt; </a:t>
            </a:r>
            <a:r>
              <a:rPr lang="en-US" sz="3200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fieldset</a:t>
            </a:r>
            <a:r>
              <a:rPr lang="ar-SA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 &gt;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2248" y="118218"/>
            <a:ext cx="8047277" cy="6479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018429"/>
      </p:ext>
    </p:extLst>
  </p:cSld>
  <p:clrMapOvr>
    <a:masterClrMapping/>
  </p:clrMapOvr>
  <p:transition spd="slow">
    <p:wip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" t="12192" r="354" b="4034"/>
          <a:stretch/>
        </p:blipFill>
        <p:spPr/>
      </p:pic>
      <p:cxnSp>
        <p:nvCxnSpPr>
          <p:cNvPr id="19" name="Straight Connector 18"/>
          <p:cNvCxnSpPr/>
          <p:nvPr/>
        </p:nvCxnSpPr>
        <p:spPr>
          <a:xfrm>
            <a:off x="3553143" y="1503563"/>
            <a:ext cx="72778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reeform 13"/>
          <p:cNvSpPr>
            <a:spLocks noEditPoints="1"/>
          </p:cNvSpPr>
          <p:nvPr/>
        </p:nvSpPr>
        <p:spPr bwMode="auto">
          <a:xfrm>
            <a:off x="3988167" y="5269688"/>
            <a:ext cx="687257" cy="776288"/>
          </a:xfrm>
          <a:custGeom>
            <a:avLst/>
            <a:gdLst>
              <a:gd name="T0" fmla="*/ 435 w 1487"/>
              <a:gd name="T1" fmla="*/ 1680 h 1680"/>
              <a:gd name="T2" fmla="*/ 346 w 1487"/>
              <a:gd name="T3" fmla="*/ 1283 h 1680"/>
              <a:gd name="T4" fmla="*/ 627 w 1487"/>
              <a:gd name="T5" fmla="*/ 1194 h 1680"/>
              <a:gd name="T6" fmla="*/ 654 w 1487"/>
              <a:gd name="T7" fmla="*/ 1074 h 1680"/>
              <a:gd name="T8" fmla="*/ 299 w 1487"/>
              <a:gd name="T9" fmla="*/ 672 h 1680"/>
              <a:gd name="T10" fmla="*/ 66 w 1487"/>
              <a:gd name="T11" fmla="*/ 441 h 1680"/>
              <a:gd name="T12" fmla="*/ 252 w 1487"/>
              <a:gd name="T13" fmla="*/ 0 h 1680"/>
              <a:gd name="T14" fmla="*/ 979 w 1487"/>
              <a:gd name="T15" fmla="*/ 14 h 1680"/>
              <a:gd name="T16" fmla="*/ 252 w 1487"/>
              <a:gd name="T17" fmla="*/ 28 h 1680"/>
              <a:gd name="T18" fmla="*/ 90 w 1487"/>
              <a:gd name="T19" fmla="*/ 426 h 1680"/>
              <a:gd name="T20" fmla="*/ 327 w 1487"/>
              <a:gd name="T21" fmla="*/ 668 h 1680"/>
              <a:gd name="T22" fmla="*/ 682 w 1487"/>
              <a:gd name="T23" fmla="*/ 1074 h 1680"/>
              <a:gd name="T24" fmla="*/ 627 w 1487"/>
              <a:gd name="T25" fmla="*/ 1222 h 1680"/>
              <a:gd name="T26" fmla="*/ 374 w 1487"/>
              <a:gd name="T27" fmla="*/ 1283 h 1680"/>
              <a:gd name="T28" fmla="*/ 435 w 1487"/>
              <a:gd name="T29" fmla="*/ 1652 h 1680"/>
              <a:gd name="T30" fmla="*/ 1113 w 1487"/>
              <a:gd name="T31" fmla="*/ 1591 h 1680"/>
              <a:gd name="T32" fmla="*/ 1051 w 1487"/>
              <a:gd name="T33" fmla="*/ 1222 h 1680"/>
              <a:gd name="T34" fmla="*/ 804 w 1487"/>
              <a:gd name="T35" fmla="*/ 1167 h 1680"/>
              <a:gd name="T36" fmla="*/ 845 w 1487"/>
              <a:gd name="T37" fmla="*/ 1024 h 1680"/>
              <a:gd name="T38" fmla="*/ 1005 w 1487"/>
              <a:gd name="T39" fmla="*/ 963 h 1680"/>
              <a:gd name="T40" fmla="*/ 851 w 1487"/>
              <a:gd name="T41" fmla="*/ 1051 h 1680"/>
              <a:gd name="T42" fmla="*/ 832 w 1487"/>
              <a:gd name="T43" fmla="*/ 1167 h 1680"/>
              <a:gd name="T44" fmla="*/ 1051 w 1487"/>
              <a:gd name="T45" fmla="*/ 1194 h 1680"/>
              <a:gd name="T46" fmla="*/ 1141 w 1487"/>
              <a:gd name="T47" fmla="*/ 1591 h 1680"/>
              <a:gd name="T48" fmla="*/ 1109 w 1487"/>
              <a:gd name="T49" fmla="*/ 864 h 1680"/>
              <a:gd name="T50" fmla="*/ 1097 w 1487"/>
              <a:gd name="T51" fmla="*/ 842 h 1680"/>
              <a:gd name="T52" fmla="*/ 1140 w 1487"/>
              <a:gd name="T53" fmla="*/ 793 h 1680"/>
              <a:gd name="T54" fmla="*/ 1121 w 1487"/>
              <a:gd name="T55" fmla="*/ 857 h 1680"/>
              <a:gd name="T56" fmla="*/ 1160 w 1487"/>
              <a:gd name="T57" fmla="*/ 754 h 1680"/>
              <a:gd name="T58" fmla="*/ 1146 w 1487"/>
              <a:gd name="T59" fmla="*/ 736 h 1680"/>
              <a:gd name="T60" fmla="*/ 1192 w 1487"/>
              <a:gd name="T61" fmla="*/ 618 h 1680"/>
              <a:gd name="T62" fmla="*/ 1442 w 1487"/>
              <a:gd name="T63" fmla="*/ 197 h 1680"/>
              <a:gd name="T64" fmla="*/ 1235 w 1487"/>
              <a:gd name="T65" fmla="*/ 28 h 1680"/>
              <a:gd name="T66" fmla="*/ 1235 w 1487"/>
              <a:gd name="T67" fmla="*/ 0 h 1680"/>
              <a:gd name="T68" fmla="*/ 1469 w 1487"/>
              <a:gd name="T69" fmla="*/ 190 h 1680"/>
              <a:gd name="T70" fmla="*/ 1207 w 1487"/>
              <a:gd name="T71" fmla="*/ 642 h 1680"/>
              <a:gd name="T72" fmla="*/ 1173 w 1487"/>
              <a:gd name="T73" fmla="*/ 744 h 1680"/>
              <a:gd name="T74" fmla="*/ 285 w 1487"/>
              <a:gd name="T75" fmla="*/ 450 h 1680"/>
              <a:gd name="T76" fmla="*/ 163 w 1487"/>
              <a:gd name="T77" fmla="*/ 227 h 1680"/>
              <a:gd name="T78" fmla="*/ 252 w 1487"/>
              <a:gd name="T79" fmla="*/ 150 h 1680"/>
              <a:gd name="T80" fmla="*/ 323 w 1487"/>
              <a:gd name="T81" fmla="*/ 412 h 1680"/>
              <a:gd name="T82" fmla="*/ 285 w 1487"/>
              <a:gd name="T83" fmla="*/ 450 h 1680"/>
              <a:gd name="T84" fmla="*/ 278 w 1487"/>
              <a:gd name="T85" fmla="*/ 419 h 1680"/>
              <a:gd name="T86" fmla="*/ 295 w 1487"/>
              <a:gd name="T87" fmla="*/ 412 h 1680"/>
              <a:gd name="T88" fmla="*/ 252 w 1487"/>
              <a:gd name="T89" fmla="*/ 178 h 1680"/>
              <a:gd name="T90" fmla="*/ 1202 w 1487"/>
              <a:gd name="T91" fmla="*/ 449 h 1680"/>
              <a:gd name="T92" fmla="*/ 1164 w 1487"/>
              <a:gd name="T93" fmla="*/ 411 h 1680"/>
              <a:gd name="T94" fmla="*/ 1235 w 1487"/>
              <a:gd name="T95" fmla="*/ 150 h 1680"/>
              <a:gd name="T96" fmla="*/ 1228 w 1487"/>
              <a:gd name="T97" fmla="*/ 439 h 1680"/>
              <a:gd name="T98" fmla="*/ 1192 w 1487"/>
              <a:gd name="T99" fmla="*/ 178 h 1680"/>
              <a:gd name="T100" fmla="*/ 1198 w 1487"/>
              <a:gd name="T101" fmla="*/ 420 h 1680"/>
              <a:gd name="T102" fmla="*/ 1296 w 1487"/>
              <a:gd name="T103" fmla="*/ 234 h 1680"/>
              <a:gd name="T104" fmla="*/ 1192 w 1487"/>
              <a:gd name="T105" fmla="*/ 178 h 1680"/>
              <a:gd name="T106" fmla="*/ 1055 w 1487"/>
              <a:gd name="T107" fmla="*/ 28 h 1680"/>
              <a:gd name="T108" fmla="*/ 1055 w 1487"/>
              <a:gd name="T109" fmla="*/ 0 h 1680"/>
              <a:gd name="T110" fmla="*/ 1179 w 1487"/>
              <a:gd name="T111" fmla="*/ 14 h 1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487" h="1680">
                <a:moveTo>
                  <a:pt x="1051" y="1680"/>
                </a:moveTo>
                <a:cubicBezTo>
                  <a:pt x="435" y="1680"/>
                  <a:pt x="435" y="1680"/>
                  <a:pt x="435" y="1680"/>
                </a:cubicBezTo>
                <a:cubicBezTo>
                  <a:pt x="386" y="1680"/>
                  <a:pt x="346" y="1640"/>
                  <a:pt x="346" y="1591"/>
                </a:cubicBezTo>
                <a:cubicBezTo>
                  <a:pt x="346" y="1283"/>
                  <a:pt x="346" y="1283"/>
                  <a:pt x="346" y="1283"/>
                </a:cubicBezTo>
                <a:cubicBezTo>
                  <a:pt x="346" y="1234"/>
                  <a:pt x="386" y="1194"/>
                  <a:pt x="435" y="1194"/>
                </a:cubicBezTo>
                <a:cubicBezTo>
                  <a:pt x="627" y="1194"/>
                  <a:pt x="627" y="1194"/>
                  <a:pt x="627" y="1194"/>
                </a:cubicBezTo>
                <a:cubicBezTo>
                  <a:pt x="642" y="1194"/>
                  <a:pt x="654" y="1182"/>
                  <a:pt x="654" y="1167"/>
                </a:cubicBezTo>
                <a:cubicBezTo>
                  <a:pt x="654" y="1074"/>
                  <a:pt x="654" y="1074"/>
                  <a:pt x="654" y="1074"/>
                </a:cubicBezTo>
                <a:cubicBezTo>
                  <a:pt x="654" y="1063"/>
                  <a:pt x="647" y="1053"/>
                  <a:pt x="635" y="1051"/>
                </a:cubicBezTo>
                <a:cubicBezTo>
                  <a:pt x="457" y="1006"/>
                  <a:pt x="322" y="854"/>
                  <a:pt x="299" y="672"/>
                </a:cubicBezTo>
                <a:cubicBezTo>
                  <a:pt x="298" y="660"/>
                  <a:pt x="291" y="649"/>
                  <a:pt x="280" y="643"/>
                </a:cubicBezTo>
                <a:cubicBezTo>
                  <a:pt x="184" y="582"/>
                  <a:pt x="111" y="514"/>
                  <a:pt x="66" y="441"/>
                </a:cubicBezTo>
                <a:cubicBezTo>
                  <a:pt x="0" y="336"/>
                  <a:pt x="4" y="247"/>
                  <a:pt x="18" y="190"/>
                </a:cubicBezTo>
                <a:cubicBezTo>
                  <a:pt x="47" y="78"/>
                  <a:pt x="143" y="0"/>
                  <a:pt x="252" y="0"/>
                </a:cubicBezTo>
                <a:cubicBezTo>
                  <a:pt x="965" y="0"/>
                  <a:pt x="965" y="0"/>
                  <a:pt x="965" y="0"/>
                </a:cubicBezTo>
                <a:cubicBezTo>
                  <a:pt x="973" y="0"/>
                  <a:pt x="979" y="6"/>
                  <a:pt x="979" y="14"/>
                </a:cubicBezTo>
                <a:cubicBezTo>
                  <a:pt x="979" y="22"/>
                  <a:pt x="973" y="28"/>
                  <a:pt x="965" y="28"/>
                </a:cubicBezTo>
                <a:cubicBezTo>
                  <a:pt x="252" y="28"/>
                  <a:pt x="252" y="28"/>
                  <a:pt x="252" y="28"/>
                </a:cubicBezTo>
                <a:cubicBezTo>
                  <a:pt x="156" y="28"/>
                  <a:pt x="71" y="98"/>
                  <a:pt x="45" y="197"/>
                </a:cubicBezTo>
                <a:cubicBezTo>
                  <a:pt x="32" y="248"/>
                  <a:pt x="29" y="330"/>
                  <a:pt x="90" y="426"/>
                </a:cubicBezTo>
                <a:cubicBezTo>
                  <a:pt x="133" y="495"/>
                  <a:pt x="202" y="560"/>
                  <a:pt x="295" y="619"/>
                </a:cubicBezTo>
                <a:cubicBezTo>
                  <a:pt x="313" y="630"/>
                  <a:pt x="324" y="648"/>
                  <a:pt x="327" y="668"/>
                </a:cubicBezTo>
                <a:cubicBezTo>
                  <a:pt x="348" y="839"/>
                  <a:pt x="475" y="982"/>
                  <a:pt x="642" y="1023"/>
                </a:cubicBezTo>
                <a:cubicBezTo>
                  <a:pt x="666" y="1029"/>
                  <a:pt x="682" y="1050"/>
                  <a:pt x="682" y="1074"/>
                </a:cubicBezTo>
                <a:cubicBezTo>
                  <a:pt x="682" y="1167"/>
                  <a:pt x="682" y="1167"/>
                  <a:pt x="682" y="1167"/>
                </a:cubicBezTo>
                <a:cubicBezTo>
                  <a:pt x="682" y="1197"/>
                  <a:pt x="658" y="1222"/>
                  <a:pt x="627" y="1222"/>
                </a:cubicBezTo>
                <a:cubicBezTo>
                  <a:pt x="435" y="1222"/>
                  <a:pt x="435" y="1222"/>
                  <a:pt x="435" y="1222"/>
                </a:cubicBezTo>
                <a:cubicBezTo>
                  <a:pt x="402" y="1222"/>
                  <a:pt x="374" y="1249"/>
                  <a:pt x="374" y="1283"/>
                </a:cubicBezTo>
                <a:cubicBezTo>
                  <a:pt x="374" y="1591"/>
                  <a:pt x="374" y="1591"/>
                  <a:pt x="374" y="1591"/>
                </a:cubicBezTo>
                <a:cubicBezTo>
                  <a:pt x="374" y="1625"/>
                  <a:pt x="402" y="1652"/>
                  <a:pt x="435" y="1652"/>
                </a:cubicBezTo>
                <a:cubicBezTo>
                  <a:pt x="1051" y="1652"/>
                  <a:pt x="1051" y="1652"/>
                  <a:pt x="1051" y="1652"/>
                </a:cubicBezTo>
                <a:cubicBezTo>
                  <a:pt x="1085" y="1652"/>
                  <a:pt x="1113" y="1625"/>
                  <a:pt x="1113" y="1591"/>
                </a:cubicBezTo>
                <a:cubicBezTo>
                  <a:pt x="1113" y="1283"/>
                  <a:pt x="1113" y="1283"/>
                  <a:pt x="1113" y="1283"/>
                </a:cubicBezTo>
                <a:cubicBezTo>
                  <a:pt x="1113" y="1249"/>
                  <a:pt x="1085" y="1222"/>
                  <a:pt x="1051" y="1222"/>
                </a:cubicBezTo>
                <a:cubicBezTo>
                  <a:pt x="860" y="1222"/>
                  <a:pt x="860" y="1222"/>
                  <a:pt x="860" y="1222"/>
                </a:cubicBezTo>
                <a:cubicBezTo>
                  <a:pt x="829" y="1222"/>
                  <a:pt x="804" y="1197"/>
                  <a:pt x="804" y="1167"/>
                </a:cubicBezTo>
                <a:cubicBezTo>
                  <a:pt x="804" y="1075"/>
                  <a:pt x="804" y="1075"/>
                  <a:pt x="804" y="1075"/>
                </a:cubicBezTo>
                <a:cubicBezTo>
                  <a:pt x="804" y="1050"/>
                  <a:pt x="821" y="1029"/>
                  <a:pt x="845" y="1024"/>
                </a:cubicBezTo>
                <a:cubicBezTo>
                  <a:pt x="895" y="1011"/>
                  <a:pt x="942" y="990"/>
                  <a:pt x="985" y="960"/>
                </a:cubicBezTo>
                <a:cubicBezTo>
                  <a:pt x="991" y="955"/>
                  <a:pt x="1000" y="957"/>
                  <a:pt x="1005" y="963"/>
                </a:cubicBezTo>
                <a:cubicBezTo>
                  <a:pt x="1009" y="969"/>
                  <a:pt x="1007" y="978"/>
                  <a:pt x="1001" y="982"/>
                </a:cubicBezTo>
                <a:cubicBezTo>
                  <a:pt x="956" y="1014"/>
                  <a:pt x="905" y="1037"/>
                  <a:pt x="851" y="1051"/>
                </a:cubicBezTo>
                <a:cubicBezTo>
                  <a:pt x="840" y="1054"/>
                  <a:pt x="832" y="1063"/>
                  <a:pt x="832" y="1075"/>
                </a:cubicBezTo>
                <a:cubicBezTo>
                  <a:pt x="832" y="1167"/>
                  <a:pt x="832" y="1167"/>
                  <a:pt x="832" y="1167"/>
                </a:cubicBezTo>
                <a:cubicBezTo>
                  <a:pt x="832" y="1182"/>
                  <a:pt x="845" y="1194"/>
                  <a:pt x="860" y="1194"/>
                </a:cubicBezTo>
                <a:cubicBezTo>
                  <a:pt x="1051" y="1194"/>
                  <a:pt x="1051" y="1194"/>
                  <a:pt x="1051" y="1194"/>
                </a:cubicBezTo>
                <a:cubicBezTo>
                  <a:pt x="1101" y="1194"/>
                  <a:pt x="1141" y="1234"/>
                  <a:pt x="1141" y="1283"/>
                </a:cubicBezTo>
                <a:cubicBezTo>
                  <a:pt x="1141" y="1591"/>
                  <a:pt x="1141" y="1591"/>
                  <a:pt x="1141" y="1591"/>
                </a:cubicBezTo>
                <a:cubicBezTo>
                  <a:pt x="1141" y="1640"/>
                  <a:pt x="1101" y="1680"/>
                  <a:pt x="1051" y="1680"/>
                </a:cubicBezTo>
                <a:close/>
                <a:moveTo>
                  <a:pt x="1109" y="864"/>
                </a:moveTo>
                <a:cubicBezTo>
                  <a:pt x="1107" y="864"/>
                  <a:pt x="1104" y="863"/>
                  <a:pt x="1102" y="862"/>
                </a:cubicBezTo>
                <a:cubicBezTo>
                  <a:pt x="1095" y="858"/>
                  <a:pt x="1093" y="849"/>
                  <a:pt x="1097" y="842"/>
                </a:cubicBezTo>
                <a:cubicBezTo>
                  <a:pt x="1106" y="828"/>
                  <a:pt x="1115" y="814"/>
                  <a:pt x="1122" y="799"/>
                </a:cubicBezTo>
                <a:cubicBezTo>
                  <a:pt x="1125" y="792"/>
                  <a:pt x="1134" y="789"/>
                  <a:pt x="1140" y="793"/>
                </a:cubicBezTo>
                <a:cubicBezTo>
                  <a:pt x="1147" y="796"/>
                  <a:pt x="1150" y="804"/>
                  <a:pt x="1147" y="811"/>
                </a:cubicBezTo>
                <a:cubicBezTo>
                  <a:pt x="1139" y="827"/>
                  <a:pt x="1130" y="843"/>
                  <a:pt x="1121" y="857"/>
                </a:cubicBezTo>
                <a:cubicBezTo>
                  <a:pt x="1118" y="862"/>
                  <a:pt x="1114" y="864"/>
                  <a:pt x="1109" y="864"/>
                </a:cubicBezTo>
                <a:close/>
                <a:moveTo>
                  <a:pt x="1160" y="754"/>
                </a:moveTo>
                <a:cubicBezTo>
                  <a:pt x="1159" y="754"/>
                  <a:pt x="1157" y="754"/>
                  <a:pt x="1156" y="753"/>
                </a:cubicBezTo>
                <a:cubicBezTo>
                  <a:pt x="1148" y="751"/>
                  <a:pt x="1144" y="743"/>
                  <a:pt x="1146" y="736"/>
                </a:cubicBezTo>
                <a:cubicBezTo>
                  <a:pt x="1153" y="714"/>
                  <a:pt x="1158" y="691"/>
                  <a:pt x="1161" y="668"/>
                </a:cubicBezTo>
                <a:cubicBezTo>
                  <a:pt x="1163" y="647"/>
                  <a:pt x="1175" y="629"/>
                  <a:pt x="1192" y="618"/>
                </a:cubicBezTo>
                <a:cubicBezTo>
                  <a:pt x="1285" y="560"/>
                  <a:pt x="1354" y="495"/>
                  <a:pt x="1397" y="426"/>
                </a:cubicBezTo>
                <a:cubicBezTo>
                  <a:pt x="1458" y="330"/>
                  <a:pt x="1455" y="248"/>
                  <a:pt x="1442" y="197"/>
                </a:cubicBezTo>
                <a:cubicBezTo>
                  <a:pt x="1421" y="118"/>
                  <a:pt x="1362" y="55"/>
                  <a:pt x="1287" y="35"/>
                </a:cubicBezTo>
                <a:cubicBezTo>
                  <a:pt x="1270" y="30"/>
                  <a:pt x="1252" y="28"/>
                  <a:pt x="1235" y="28"/>
                </a:cubicBezTo>
                <a:cubicBezTo>
                  <a:pt x="1227" y="28"/>
                  <a:pt x="1221" y="22"/>
                  <a:pt x="1221" y="14"/>
                </a:cubicBezTo>
                <a:cubicBezTo>
                  <a:pt x="1221" y="6"/>
                  <a:pt x="1227" y="0"/>
                  <a:pt x="1235" y="0"/>
                </a:cubicBezTo>
                <a:cubicBezTo>
                  <a:pt x="1255" y="0"/>
                  <a:pt x="1275" y="3"/>
                  <a:pt x="1294" y="8"/>
                </a:cubicBezTo>
                <a:cubicBezTo>
                  <a:pt x="1379" y="31"/>
                  <a:pt x="1446" y="101"/>
                  <a:pt x="1469" y="190"/>
                </a:cubicBezTo>
                <a:cubicBezTo>
                  <a:pt x="1483" y="247"/>
                  <a:pt x="1487" y="336"/>
                  <a:pt x="1421" y="441"/>
                </a:cubicBezTo>
                <a:cubicBezTo>
                  <a:pt x="1375" y="514"/>
                  <a:pt x="1303" y="581"/>
                  <a:pt x="1207" y="642"/>
                </a:cubicBezTo>
                <a:cubicBezTo>
                  <a:pt x="1197" y="649"/>
                  <a:pt x="1190" y="659"/>
                  <a:pt x="1188" y="671"/>
                </a:cubicBezTo>
                <a:cubicBezTo>
                  <a:pt x="1185" y="696"/>
                  <a:pt x="1180" y="720"/>
                  <a:pt x="1173" y="744"/>
                </a:cubicBezTo>
                <a:cubicBezTo>
                  <a:pt x="1171" y="750"/>
                  <a:pt x="1166" y="754"/>
                  <a:pt x="1160" y="754"/>
                </a:cubicBezTo>
                <a:close/>
                <a:moveTo>
                  <a:pt x="285" y="450"/>
                </a:moveTo>
                <a:cubicBezTo>
                  <a:pt x="276" y="450"/>
                  <a:pt x="267" y="446"/>
                  <a:pt x="259" y="439"/>
                </a:cubicBezTo>
                <a:cubicBezTo>
                  <a:pt x="182" y="368"/>
                  <a:pt x="147" y="291"/>
                  <a:pt x="163" y="227"/>
                </a:cubicBezTo>
                <a:cubicBezTo>
                  <a:pt x="163" y="227"/>
                  <a:pt x="163" y="227"/>
                  <a:pt x="163" y="227"/>
                </a:cubicBezTo>
                <a:cubicBezTo>
                  <a:pt x="176" y="177"/>
                  <a:pt x="218" y="150"/>
                  <a:pt x="252" y="150"/>
                </a:cubicBezTo>
                <a:cubicBezTo>
                  <a:pt x="323" y="150"/>
                  <a:pt x="323" y="150"/>
                  <a:pt x="323" y="150"/>
                </a:cubicBezTo>
                <a:cubicBezTo>
                  <a:pt x="323" y="412"/>
                  <a:pt x="323" y="412"/>
                  <a:pt x="323" y="412"/>
                </a:cubicBezTo>
                <a:cubicBezTo>
                  <a:pt x="323" y="427"/>
                  <a:pt x="315" y="440"/>
                  <a:pt x="301" y="446"/>
                </a:cubicBezTo>
                <a:cubicBezTo>
                  <a:pt x="296" y="449"/>
                  <a:pt x="290" y="450"/>
                  <a:pt x="285" y="450"/>
                </a:cubicBezTo>
                <a:close/>
                <a:moveTo>
                  <a:pt x="191" y="234"/>
                </a:moveTo>
                <a:cubicBezTo>
                  <a:pt x="177" y="287"/>
                  <a:pt x="209" y="355"/>
                  <a:pt x="278" y="419"/>
                </a:cubicBezTo>
                <a:cubicBezTo>
                  <a:pt x="283" y="423"/>
                  <a:pt x="288" y="421"/>
                  <a:pt x="289" y="421"/>
                </a:cubicBezTo>
                <a:cubicBezTo>
                  <a:pt x="291" y="420"/>
                  <a:pt x="295" y="417"/>
                  <a:pt x="295" y="412"/>
                </a:cubicBezTo>
                <a:cubicBezTo>
                  <a:pt x="295" y="178"/>
                  <a:pt x="295" y="178"/>
                  <a:pt x="295" y="178"/>
                </a:cubicBezTo>
                <a:cubicBezTo>
                  <a:pt x="252" y="178"/>
                  <a:pt x="252" y="178"/>
                  <a:pt x="252" y="178"/>
                </a:cubicBezTo>
                <a:cubicBezTo>
                  <a:pt x="229" y="178"/>
                  <a:pt x="200" y="197"/>
                  <a:pt x="191" y="234"/>
                </a:cubicBezTo>
                <a:close/>
                <a:moveTo>
                  <a:pt x="1202" y="449"/>
                </a:moveTo>
                <a:cubicBezTo>
                  <a:pt x="1197" y="449"/>
                  <a:pt x="1192" y="448"/>
                  <a:pt x="1187" y="446"/>
                </a:cubicBezTo>
                <a:cubicBezTo>
                  <a:pt x="1173" y="440"/>
                  <a:pt x="1164" y="427"/>
                  <a:pt x="1164" y="411"/>
                </a:cubicBezTo>
                <a:cubicBezTo>
                  <a:pt x="1164" y="150"/>
                  <a:pt x="1164" y="150"/>
                  <a:pt x="1164" y="150"/>
                </a:cubicBezTo>
                <a:cubicBezTo>
                  <a:pt x="1235" y="150"/>
                  <a:pt x="1235" y="150"/>
                  <a:pt x="1235" y="150"/>
                </a:cubicBezTo>
                <a:cubicBezTo>
                  <a:pt x="1269" y="150"/>
                  <a:pt x="1310" y="177"/>
                  <a:pt x="1323" y="227"/>
                </a:cubicBezTo>
                <a:cubicBezTo>
                  <a:pt x="1339" y="291"/>
                  <a:pt x="1305" y="368"/>
                  <a:pt x="1228" y="439"/>
                </a:cubicBezTo>
                <a:cubicBezTo>
                  <a:pt x="1221" y="446"/>
                  <a:pt x="1211" y="449"/>
                  <a:pt x="1202" y="449"/>
                </a:cubicBezTo>
                <a:close/>
                <a:moveTo>
                  <a:pt x="1192" y="178"/>
                </a:moveTo>
                <a:cubicBezTo>
                  <a:pt x="1192" y="411"/>
                  <a:pt x="1192" y="411"/>
                  <a:pt x="1192" y="411"/>
                </a:cubicBezTo>
                <a:cubicBezTo>
                  <a:pt x="1192" y="417"/>
                  <a:pt x="1196" y="420"/>
                  <a:pt x="1198" y="420"/>
                </a:cubicBezTo>
                <a:cubicBezTo>
                  <a:pt x="1199" y="421"/>
                  <a:pt x="1204" y="423"/>
                  <a:pt x="1209" y="418"/>
                </a:cubicBezTo>
                <a:cubicBezTo>
                  <a:pt x="1278" y="354"/>
                  <a:pt x="1310" y="287"/>
                  <a:pt x="1296" y="234"/>
                </a:cubicBezTo>
                <a:cubicBezTo>
                  <a:pt x="1287" y="197"/>
                  <a:pt x="1258" y="178"/>
                  <a:pt x="1235" y="178"/>
                </a:cubicBezTo>
                <a:lnTo>
                  <a:pt x="1192" y="178"/>
                </a:lnTo>
                <a:close/>
                <a:moveTo>
                  <a:pt x="1165" y="28"/>
                </a:moveTo>
                <a:cubicBezTo>
                  <a:pt x="1055" y="28"/>
                  <a:pt x="1055" y="28"/>
                  <a:pt x="1055" y="28"/>
                </a:cubicBezTo>
                <a:cubicBezTo>
                  <a:pt x="1047" y="28"/>
                  <a:pt x="1041" y="22"/>
                  <a:pt x="1041" y="14"/>
                </a:cubicBezTo>
                <a:cubicBezTo>
                  <a:pt x="1041" y="6"/>
                  <a:pt x="1047" y="0"/>
                  <a:pt x="1055" y="0"/>
                </a:cubicBezTo>
                <a:cubicBezTo>
                  <a:pt x="1165" y="0"/>
                  <a:pt x="1165" y="0"/>
                  <a:pt x="1165" y="0"/>
                </a:cubicBezTo>
                <a:cubicBezTo>
                  <a:pt x="1173" y="0"/>
                  <a:pt x="1179" y="6"/>
                  <a:pt x="1179" y="14"/>
                </a:cubicBezTo>
                <a:cubicBezTo>
                  <a:pt x="1179" y="22"/>
                  <a:pt x="1173" y="28"/>
                  <a:pt x="1165" y="28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383104">
            <a:off x="4741528" y="1275569"/>
            <a:ext cx="4889029" cy="3081649"/>
          </a:xfrm>
          <a:prstGeom prst="rect">
            <a:avLst/>
          </a:prstGeom>
        </p:spPr>
      </p:pic>
      <p:sp>
        <p:nvSpPr>
          <p:cNvPr id="24" name="Rectangle 23"/>
          <p:cNvSpPr/>
          <p:nvPr/>
        </p:nvSpPr>
        <p:spPr>
          <a:xfrm flipH="1">
            <a:off x="0" y="0"/>
            <a:ext cx="4813310" cy="6866549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t-LT" sz="3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365794" y="270224"/>
            <a:ext cx="5258752" cy="5886943"/>
          </a:xfrm>
          <a:prstGeom prst="rect">
            <a:avLst/>
          </a:prstGeom>
          <a:noFill/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" name="مستطيل: زوايا مستديرة 2">
            <a:extLst>
              <a:ext uri="{FF2B5EF4-FFF2-40B4-BE49-F238E27FC236}">
                <a16:creationId xmlns:a16="http://schemas.microsoft.com/office/drawing/2014/main" id="{7CDC34F1-D315-409F-961D-F48EAF85A957}"/>
              </a:ext>
            </a:extLst>
          </p:cNvPr>
          <p:cNvSpPr/>
          <p:nvPr/>
        </p:nvSpPr>
        <p:spPr>
          <a:xfrm>
            <a:off x="678656" y="792956"/>
            <a:ext cx="3721894" cy="4936332"/>
          </a:xfrm>
          <a:prstGeom prst="roundRect">
            <a:avLst/>
          </a:prstGeom>
          <a:solidFill>
            <a:schemeClr val="accent1">
              <a:alpha val="51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ar-SA" sz="3600" b="1" dirty="0">
                <a:solidFill>
                  <a:schemeClr val="accent1">
                    <a:lumMod val="50000"/>
                  </a:schemeClr>
                </a:solidFill>
              </a:rPr>
              <a:t>الوحدة الثالثة </a:t>
            </a:r>
          </a:p>
          <a:p>
            <a:pPr algn="ctr"/>
            <a:r>
              <a:rPr lang="ar-SA" sz="2400" b="1" dirty="0"/>
              <a:t>البرمجة المتقدمة باستخدام لغة ترميز النص التشعبي </a:t>
            </a:r>
          </a:p>
          <a:p>
            <a:pPr algn="ctr"/>
            <a:endParaRPr lang="ar-SA" sz="2400" b="1" dirty="0"/>
          </a:p>
          <a:p>
            <a:pPr algn="ctr"/>
            <a:endParaRPr lang="ar-SA" dirty="0"/>
          </a:p>
          <a:p>
            <a:pPr algn="ctr"/>
            <a:endParaRPr lang="ar-SA" dirty="0"/>
          </a:p>
          <a:p>
            <a:pPr algn="ctr"/>
            <a:r>
              <a:rPr lang="ar-SA" sz="3200" b="1" dirty="0">
                <a:solidFill>
                  <a:srgbClr val="C00000"/>
                </a:solidFill>
              </a:rPr>
              <a:t>الدرس الأول </a:t>
            </a:r>
          </a:p>
          <a:p>
            <a:pPr algn="ctr"/>
            <a:r>
              <a:rPr lang="ar-SA" sz="2000" b="1" dirty="0"/>
              <a:t>التنسيق باستخدام وسوم </a:t>
            </a:r>
          </a:p>
          <a:p>
            <a:pPr algn="ctr"/>
            <a:r>
              <a:rPr lang="en-US" sz="2000" b="1" dirty="0"/>
              <a:t>HTML</a:t>
            </a:r>
            <a:endParaRPr lang="ar-SA" sz="2000" b="1" dirty="0"/>
          </a:p>
        </p:txBody>
      </p:sp>
    </p:spTree>
    <p:extLst>
      <p:ext uri="{BB962C8B-B14F-4D97-AF65-F5344CB8AC3E}">
        <p14:creationId xmlns:p14="http://schemas.microsoft.com/office/powerpoint/2010/main" val="3767652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/>
          <p:cNvPicPr>
            <a:picLocks noGrp="1" noChangeAspect="1"/>
          </p:cNvPicPr>
          <p:nvPr>
            <p:ph type="pic" sz="quarter" idx="10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13" b="7813"/>
          <a:stretch>
            <a:fillRect/>
          </a:stretch>
        </p:blipFill>
        <p:spPr/>
      </p:pic>
      <p:sp>
        <p:nvSpPr>
          <p:cNvPr id="17" name="Rectangle 16"/>
          <p:cNvSpPr/>
          <p:nvPr/>
        </p:nvSpPr>
        <p:spPr>
          <a:xfrm>
            <a:off x="-12336" y="0"/>
            <a:ext cx="4208728" cy="6880578"/>
          </a:xfrm>
          <a:prstGeom prst="rect">
            <a:avLst/>
          </a:prstGeom>
          <a:solidFill>
            <a:schemeClr val="accent2">
              <a:alpha val="1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4208727" y="-22578"/>
            <a:ext cx="7995609" cy="6880578"/>
          </a:xfrm>
          <a:prstGeom prst="rect">
            <a:avLst/>
          </a:prstGeom>
          <a:solidFill>
            <a:srgbClr val="FFFFF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2" name="Straight Connector 61"/>
          <p:cNvCxnSpPr/>
          <p:nvPr/>
        </p:nvCxnSpPr>
        <p:spPr>
          <a:xfrm>
            <a:off x="4208727" y="-108857"/>
            <a:ext cx="0" cy="6966857"/>
          </a:xfrm>
          <a:prstGeom prst="line">
            <a:avLst/>
          </a:prstGeom>
          <a:ln w="1270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Content Placeholder 15"/>
          <p:cNvSpPr txBox="1">
            <a:spLocks/>
          </p:cNvSpPr>
          <p:nvPr/>
        </p:nvSpPr>
        <p:spPr>
          <a:xfrm>
            <a:off x="8570114" y="2578462"/>
            <a:ext cx="3850458" cy="148130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/>
            <a:r>
              <a:rPr lang="ar-SA" sz="5400" u="sng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اهداف الدرس </a:t>
            </a:r>
            <a:endParaRPr lang="ar-EG" sz="5400" u="sng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sp>
        <p:nvSpPr>
          <p:cNvPr id="10" name="Content Placeholder 15"/>
          <p:cNvSpPr txBox="1">
            <a:spLocks/>
          </p:cNvSpPr>
          <p:nvPr/>
        </p:nvSpPr>
        <p:spPr>
          <a:xfrm>
            <a:off x="4529000" y="1252364"/>
            <a:ext cx="7478493" cy="493857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71500" indent="-57150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sp>
        <p:nvSpPr>
          <p:cNvPr id="9" name="Content Placeholder 15"/>
          <p:cNvSpPr txBox="1">
            <a:spLocks/>
          </p:cNvSpPr>
          <p:nvPr/>
        </p:nvSpPr>
        <p:spPr>
          <a:xfrm>
            <a:off x="2613300" y="3721650"/>
            <a:ext cx="7478493" cy="493857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 algn="r" rtl="1">
              <a:buFont typeface="Arial" panose="020B0604020202020204" pitchFamily="34" charset="0"/>
              <a:buChar char="•"/>
            </a:pPr>
            <a:r>
              <a:rPr lang="ar-SA" sz="3200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وسوم تنسيق النص </a:t>
            </a:r>
          </a:p>
          <a:p>
            <a:pPr marL="514350" indent="-514350" algn="r" rtl="1">
              <a:buFont typeface="Arial" panose="020B0604020202020204" pitchFamily="34" charset="0"/>
              <a:buChar char="•"/>
            </a:pPr>
            <a:r>
              <a:rPr lang="ar-SA" sz="3200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تنسيق الصورة </a:t>
            </a:r>
          </a:p>
          <a:p>
            <a:pPr marL="514350" indent="-514350" algn="r" rtl="1">
              <a:buFont typeface="Arial" panose="020B0604020202020204" pitchFamily="34" charset="0"/>
              <a:buChar char="•"/>
            </a:pPr>
            <a:r>
              <a:rPr lang="ar-SA" sz="3200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تنسيق عرض ملف الفيديو </a:t>
            </a:r>
          </a:p>
          <a:p>
            <a:pPr marL="514350" indent="-51435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14350" indent="-51435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71500" indent="-57150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912542673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8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6" presetClass="emph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animEffect transition="out" filter="fade">
                                      <p:cBhvr>
                                        <p:cTn id="10" dur="500" tmFilter="0, 0; .2, .5; .8, .5; 1, 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" dur="250" autoRev="1" fill="hold"/>
                                        <p:tgtEl>
                                          <p:spTgt spid="1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 tmFilter="0, 0; .2, .5; .8, .5; 1, 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" dur="250" autoRev="1" fill="hold"/>
                                        <p:tgtEl>
                                          <p:spTgt spid="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/>
      <p:bldP spid="10" grpId="0"/>
      <p:bldP spid="9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/>
          <p:cNvPicPr>
            <a:picLocks noGrp="1" noChangeAspect="1"/>
          </p:cNvPicPr>
          <p:nvPr>
            <p:ph type="pic" sz="quarter" idx="10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13" b="7813"/>
          <a:stretch>
            <a:fillRect/>
          </a:stretch>
        </p:blipFill>
        <p:spPr/>
      </p:pic>
      <p:sp>
        <p:nvSpPr>
          <p:cNvPr id="17" name="Rectangle 16"/>
          <p:cNvSpPr/>
          <p:nvPr/>
        </p:nvSpPr>
        <p:spPr>
          <a:xfrm>
            <a:off x="-12336" y="0"/>
            <a:ext cx="4208728" cy="6880578"/>
          </a:xfrm>
          <a:prstGeom prst="rect">
            <a:avLst/>
          </a:prstGeom>
          <a:solidFill>
            <a:schemeClr val="accent2">
              <a:alpha val="1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4208727" y="-22578"/>
            <a:ext cx="7995609" cy="6880578"/>
          </a:xfrm>
          <a:prstGeom prst="rect">
            <a:avLst/>
          </a:prstGeom>
          <a:solidFill>
            <a:srgbClr val="FFFFF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2" name="Straight Connector 61"/>
          <p:cNvCxnSpPr/>
          <p:nvPr/>
        </p:nvCxnSpPr>
        <p:spPr>
          <a:xfrm>
            <a:off x="4208727" y="-108857"/>
            <a:ext cx="0" cy="6966857"/>
          </a:xfrm>
          <a:prstGeom prst="line">
            <a:avLst/>
          </a:prstGeom>
          <a:ln w="1270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Content Placeholder 15"/>
          <p:cNvSpPr txBox="1">
            <a:spLocks/>
          </p:cNvSpPr>
          <p:nvPr/>
        </p:nvSpPr>
        <p:spPr>
          <a:xfrm>
            <a:off x="8570114" y="2578462"/>
            <a:ext cx="3850458" cy="148130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/>
            <a:r>
              <a:rPr lang="ar-SA" sz="5400" u="sng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اهداف الدرس </a:t>
            </a:r>
            <a:endParaRPr lang="ar-EG" sz="5400" u="sng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sp>
        <p:nvSpPr>
          <p:cNvPr id="10" name="Content Placeholder 15"/>
          <p:cNvSpPr txBox="1">
            <a:spLocks/>
          </p:cNvSpPr>
          <p:nvPr/>
        </p:nvSpPr>
        <p:spPr>
          <a:xfrm>
            <a:off x="4529000" y="1252364"/>
            <a:ext cx="7478493" cy="493857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71500" indent="-57150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sp>
        <p:nvSpPr>
          <p:cNvPr id="9" name="Content Placeholder 15"/>
          <p:cNvSpPr txBox="1">
            <a:spLocks/>
          </p:cNvSpPr>
          <p:nvPr/>
        </p:nvSpPr>
        <p:spPr>
          <a:xfrm>
            <a:off x="2613300" y="3721650"/>
            <a:ext cx="7478493" cy="493857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 algn="r" rtl="1">
              <a:buFont typeface="Arial" panose="020B0604020202020204" pitchFamily="34" charset="0"/>
              <a:buChar char="•"/>
            </a:pPr>
            <a:r>
              <a:rPr lang="ar-SA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وسوم تنسيق النص </a:t>
            </a:r>
          </a:p>
          <a:p>
            <a:pPr marL="514350" indent="-514350" algn="r" rtl="1">
              <a:buFont typeface="Arial" panose="020B0604020202020204" pitchFamily="34" charset="0"/>
              <a:buChar char="•"/>
            </a:pPr>
            <a:r>
              <a:rPr lang="ar-SA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تنسيق الصورة </a:t>
            </a:r>
          </a:p>
          <a:p>
            <a:pPr marL="514350" indent="-514350" algn="r" rtl="1">
              <a:buFont typeface="Arial" panose="020B0604020202020204" pitchFamily="34" charset="0"/>
              <a:buChar char="•"/>
            </a:pPr>
            <a:r>
              <a:rPr lang="ar-SA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تنسيق عرض ملف الفيديو </a:t>
            </a:r>
          </a:p>
          <a:p>
            <a:pPr marL="514350" indent="-51435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14350" indent="-51435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sz="32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14350" indent="-51435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71500" indent="-57150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164038136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8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6" presetClass="emph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animEffect transition="out" filter="fade">
                                      <p:cBhvr>
                                        <p:cTn id="10" dur="500" tmFilter="0, 0; .2, .5; .8, .5; 1, 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" dur="250" autoRev="1" fill="hold"/>
                                        <p:tgtEl>
                                          <p:spTgt spid="1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 tmFilter="0, 0; .2, .5; .8, .5; 1, 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" dur="250" autoRev="1" fill="hold"/>
                                        <p:tgtEl>
                                          <p:spTgt spid="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/>
      <p:bldP spid="10" grpId="0"/>
      <p:bldP spid="9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66" name="Content Placeholder 15">
            <a:extLst>
              <a:ext uri="{FF2B5EF4-FFF2-40B4-BE49-F238E27FC236}">
                <a16:creationId xmlns:a16="http://schemas.microsoft.com/office/drawing/2014/main" id="{17C7D2AA-5855-4FAB-9565-361243A59664}"/>
              </a:ext>
            </a:extLst>
          </p:cNvPr>
          <p:cNvSpPr txBox="1">
            <a:spLocks/>
          </p:cNvSpPr>
          <p:nvPr/>
        </p:nvSpPr>
        <p:spPr>
          <a:xfrm>
            <a:off x="8454452" y="358947"/>
            <a:ext cx="3582650" cy="399233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r>
              <a:rPr lang="ar-SA" altLang="ko-KR" sz="3200" b="1" dirty="0">
                <a:solidFill>
                  <a:srgbClr val="FFC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من خلال ..</a:t>
            </a:r>
          </a:p>
          <a:p>
            <a:pPr algn="r" rtl="1"/>
            <a:r>
              <a:rPr lang="ar-SA" altLang="ko-KR" sz="3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الصور التي أمامك تذكري طريقة الدخول للبرنامج وإنشاء ملف </a:t>
            </a:r>
            <a:r>
              <a:rPr lang="en-US" altLang="ko-KR" sz="3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TML </a:t>
            </a:r>
            <a:r>
              <a:rPr lang="ar-SA" altLang="ko-KR" sz="3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باسمك </a:t>
            </a:r>
            <a:endParaRPr lang="ar-SA" altLang="ko-KR" sz="3200" b="1" dirty="0">
              <a:solidFill>
                <a:srgbClr val="FFC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 rtl="1"/>
            <a:endParaRPr lang="ar-SA" altLang="ko-KR" sz="3200" b="1" dirty="0">
              <a:solidFill>
                <a:srgbClr val="FFC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 rtl="1"/>
            <a:r>
              <a:rPr lang="ar-SA" altLang="ko-KR" sz="3200" b="1" dirty="0">
                <a:solidFill>
                  <a:srgbClr val="FFC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الأسرع سيحصل على </a:t>
            </a:r>
          </a:p>
          <a:p>
            <a:pPr algn="r" rtl="1"/>
            <a:endParaRPr lang="ar-SA" altLang="ko-KR" sz="3200" b="1" dirty="0">
              <a:solidFill>
                <a:srgbClr val="FFC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 rtl="1"/>
            <a:endParaRPr lang="ko-KR" altLang="en-US" sz="3200" b="1" dirty="0">
              <a:solidFill>
                <a:srgbClr val="FFC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BE5BC24-23F8-46AC-8300-D4EC4D70DE63}"/>
              </a:ext>
            </a:extLst>
          </p:cNvPr>
          <p:cNvSpPr/>
          <p:nvPr/>
        </p:nvSpPr>
        <p:spPr>
          <a:xfrm flipH="1">
            <a:off x="2947341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3560F69-CA01-4BA0-A461-FB3A55271037}"/>
              </a:ext>
            </a:extLst>
          </p:cNvPr>
          <p:cNvSpPr/>
          <p:nvPr/>
        </p:nvSpPr>
        <p:spPr>
          <a:xfrm flipH="1">
            <a:off x="9537525" y="2906398"/>
            <a:ext cx="2499577" cy="6276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endParaRPr lang="en-US" sz="1100" dirty="0">
              <a:solidFill>
                <a:schemeClr val="accent3"/>
              </a:solidFill>
              <a:latin typeface="Source Sans Pro Light" panose="020B0403030403020204" pitchFamily="34" charset="-18"/>
            </a:endParaRPr>
          </a:p>
        </p:txBody>
      </p:sp>
      <p:pic>
        <p:nvPicPr>
          <p:cNvPr id="5" name="رسم 4" descr="وجه مُصمت مندهش بنجمتين في العينين مع تعبئة خالصة">
            <a:extLst>
              <a:ext uri="{FF2B5EF4-FFF2-40B4-BE49-F238E27FC236}">
                <a16:creationId xmlns:a16="http://schemas.microsoft.com/office/drawing/2014/main" id="{FDDC007E-A7C1-37CE-43BB-5C40D52074C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6854" y="3870398"/>
            <a:ext cx="914400" cy="914400"/>
          </a:xfrm>
          <a:prstGeom prst="rect">
            <a:avLst/>
          </a:prstGeom>
        </p:spPr>
      </p:pic>
      <p:pic>
        <p:nvPicPr>
          <p:cNvPr id="6" name="رسم 5" descr="وجه مُصمت مندهش بنجمتين في العينين مع تعبئة خالصة">
            <a:extLst>
              <a:ext uri="{FF2B5EF4-FFF2-40B4-BE49-F238E27FC236}">
                <a16:creationId xmlns:a16="http://schemas.microsoft.com/office/drawing/2014/main" id="{13C0D4B0-41CA-F2D6-36CC-6D0F5E3A609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872913" y="3836193"/>
            <a:ext cx="914400" cy="914400"/>
          </a:xfrm>
          <a:prstGeom prst="rect">
            <a:avLst/>
          </a:prstGeom>
        </p:spPr>
      </p:pic>
      <p:pic>
        <p:nvPicPr>
          <p:cNvPr id="12" name="صورة 11">
            <a:extLst>
              <a:ext uri="{FF2B5EF4-FFF2-40B4-BE49-F238E27FC236}">
                <a16:creationId xmlns:a16="http://schemas.microsoft.com/office/drawing/2014/main" id="{1F83DBBD-AEBA-D5AF-D4F9-E52E929E423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9518" y="179082"/>
            <a:ext cx="7379082" cy="3286734"/>
          </a:xfrm>
          <a:prstGeom prst="rect">
            <a:avLst/>
          </a:prstGeom>
        </p:spPr>
      </p:pic>
      <p:sp>
        <p:nvSpPr>
          <p:cNvPr id="13" name="مستطيل 12">
            <a:extLst>
              <a:ext uri="{FF2B5EF4-FFF2-40B4-BE49-F238E27FC236}">
                <a16:creationId xmlns:a16="http://schemas.microsoft.com/office/drawing/2014/main" id="{B5FF616C-D387-F6E4-E308-76F78341808C}"/>
              </a:ext>
            </a:extLst>
          </p:cNvPr>
          <p:cNvSpPr/>
          <p:nvPr/>
        </p:nvSpPr>
        <p:spPr>
          <a:xfrm>
            <a:off x="3665743" y="842963"/>
            <a:ext cx="3199401" cy="907256"/>
          </a:xfrm>
          <a:prstGeom prst="rect">
            <a:avLst/>
          </a:prstGeom>
          <a:solidFill>
            <a:schemeClr val="accent1">
              <a:alpha val="7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ar-SA" b="1" dirty="0"/>
              <a:t>إنشاء مجلد </a:t>
            </a:r>
            <a:r>
              <a:rPr lang="ar-SA" b="1" dirty="0" err="1"/>
              <a:t>بأسمك</a:t>
            </a:r>
            <a:r>
              <a:rPr lang="ar-SA" b="1" dirty="0"/>
              <a:t> ضعي صورة بداخله </a:t>
            </a:r>
          </a:p>
          <a:p>
            <a:pPr algn="ctr"/>
            <a:r>
              <a:rPr lang="ar-SA" b="1" dirty="0"/>
              <a:t>فتحي البرنامج ومن ثم </a:t>
            </a:r>
          </a:p>
          <a:p>
            <a:pPr algn="ctr"/>
            <a:r>
              <a:rPr lang="en-US" b="1" dirty="0"/>
              <a:t>Open folder </a:t>
            </a:r>
            <a:endParaRPr lang="ar-SA" b="1" dirty="0"/>
          </a:p>
        </p:txBody>
      </p:sp>
      <p:cxnSp>
        <p:nvCxnSpPr>
          <p:cNvPr id="18" name="رابط كسهم مستقيم 17">
            <a:extLst>
              <a:ext uri="{FF2B5EF4-FFF2-40B4-BE49-F238E27FC236}">
                <a16:creationId xmlns:a16="http://schemas.microsoft.com/office/drawing/2014/main" id="{07491BCA-542D-8015-9B58-75AC4EC45104}"/>
              </a:ext>
            </a:extLst>
          </p:cNvPr>
          <p:cNvCxnSpPr/>
          <p:nvPr/>
        </p:nvCxnSpPr>
        <p:spPr>
          <a:xfrm>
            <a:off x="6865144" y="1545336"/>
            <a:ext cx="514064" cy="635094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رابط كسهم مستقيم 19">
            <a:extLst>
              <a:ext uri="{FF2B5EF4-FFF2-40B4-BE49-F238E27FC236}">
                <a16:creationId xmlns:a16="http://schemas.microsoft.com/office/drawing/2014/main" id="{99426F81-8DB2-A623-0CC8-E224EADBC92C}"/>
              </a:ext>
            </a:extLst>
          </p:cNvPr>
          <p:cNvCxnSpPr/>
          <p:nvPr/>
        </p:nvCxnSpPr>
        <p:spPr>
          <a:xfrm flipH="1">
            <a:off x="2064957" y="1750219"/>
            <a:ext cx="1600786" cy="788193"/>
          </a:xfrm>
          <a:prstGeom prst="straightConnector1">
            <a:avLst/>
          </a:prstGeom>
          <a:ln w="476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صورة 21">
            <a:extLst>
              <a:ext uri="{FF2B5EF4-FFF2-40B4-BE49-F238E27FC236}">
                <a16:creationId xmlns:a16="http://schemas.microsoft.com/office/drawing/2014/main" id="{B7727376-D347-1130-51FC-0117F68EA87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9518" y="3836193"/>
            <a:ext cx="7445757" cy="2839437"/>
          </a:xfrm>
          <a:prstGeom prst="rect">
            <a:avLst/>
          </a:prstGeom>
        </p:spPr>
      </p:pic>
      <p:cxnSp>
        <p:nvCxnSpPr>
          <p:cNvPr id="23" name="رابط كسهم مستقيم 22">
            <a:extLst>
              <a:ext uri="{FF2B5EF4-FFF2-40B4-BE49-F238E27FC236}">
                <a16:creationId xmlns:a16="http://schemas.microsoft.com/office/drawing/2014/main" id="{E3A01803-698A-FA9E-4AF5-22689C27CDC1}"/>
              </a:ext>
            </a:extLst>
          </p:cNvPr>
          <p:cNvCxnSpPr>
            <a:cxnSpLocks/>
          </p:cNvCxnSpPr>
          <p:nvPr/>
        </p:nvCxnSpPr>
        <p:spPr>
          <a:xfrm flipH="1">
            <a:off x="4465050" y="5299565"/>
            <a:ext cx="928481" cy="870253"/>
          </a:xfrm>
          <a:prstGeom prst="straightConnector1">
            <a:avLst/>
          </a:prstGeom>
          <a:ln w="476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رابط كسهم مستقيم 23">
            <a:extLst>
              <a:ext uri="{FF2B5EF4-FFF2-40B4-BE49-F238E27FC236}">
                <a16:creationId xmlns:a16="http://schemas.microsoft.com/office/drawing/2014/main" id="{8AEDCD07-B627-6CBB-907D-D9DDA733EAB3}"/>
              </a:ext>
            </a:extLst>
          </p:cNvPr>
          <p:cNvCxnSpPr>
            <a:cxnSpLocks/>
          </p:cNvCxnSpPr>
          <p:nvPr/>
        </p:nvCxnSpPr>
        <p:spPr>
          <a:xfrm flipH="1" flipV="1">
            <a:off x="2374520" y="4784798"/>
            <a:ext cx="2381843" cy="144390"/>
          </a:xfrm>
          <a:prstGeom prst="straightConnector1">
            <a:avLst/>
          </a:prstGeom>
          <a:ln w="476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مستطيل 25">
            <a:extLst>
              <a:ext uri="{FF2B5EF4-FFF2-40B4-BE49-F238E27FC236}">
                <a16:creationId xmlns:a16="http://schemas.microsoft.com/office/drawing/2014/main" id="{2C9003EE-E35B-AB6C-F597-4670E88619F3}"/>
              </a:ext>
            </a:extLst>
          </p:cNvPr>
          <p:cNvSpPr/>
          <p:nvPr/>
        </p:nvSpPr>
        <p:spPr>
          <a:xfrm>
            <a:off x="4756363" y="4395730"/>
            <a:ext cx="3199401" cy="907256"/>
          </a:xfrm>
          <a:prstGeom prst="rect">
            <a:avLst/>
          </a:prstGeom>
          <a:solidFill>
            <a:schemeClr val="accent1">
              <a:alpha val="7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ar-SA" b="1" dirty="0"/>
              <a:t>استدعي المجلد وانقري على </a:t>
            </a:r>
          </a:p>
          <a:p>
            <a:pPr algn="ctr"/>
            <a:r>
              <a:rPr lang="en-US" b="1" dirty="0"/>
              <a:t>Select folder</a:t>
            </a:r>
            <a:endParaRPr lang="ar-SA" b="1" dirty="0"/>
          </a:p>
        </p:txBody>
      </p:sp>
    </p:spTree>
    <p:extLst>
      <p:ext uri="{BB962C8B-B14F-4D97-AF65-F5344CB8AC3E}">
        <p14:creationId xmlns:p14="http://schemas.microsoft.com/office/powerpoint/2010/main" val="582073412"/>
      </p:ext>
    </p:extLst>
  </p:cSld>
  <p:clrMapOvr>
    <a:masterClrMapping/>
  </p:clrMapOvr>
  <p:transition spd="slow">
    <p:wip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66" name="Content Placeholder 15">
            <a:extLst>
              <a:ext uri="{FF2B5EF4-FFF2-40B4-BE49-F238E27FC236}">
                <a16:creationId xmlns:a16="http://schemas.microsoft.com/office/drawing/2014/main" id="{17C7D2AA-5855-4FAB-9565-361243A59664}"/>
              </a:ext>
            </a:extLst>
          </p:cNvPr>
          <p:cNvSpPr txBox="1">
            <a:spLocks/>
          </p:cNvSpPr>
          <p:nvPr/>
        </p:nvSpPr>
        <p:spPr>
          <a:xfrm>
            <a:off x="8454452" y="358947"/>
            <a:ext cx="3582650" cy="399233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r>
              <a:rPr lang="ar-SA" altLang="ko-KR" sz="3200" b="1" dirty="0">
                <a:solidFill>
                  <a:srgbClr val="FFC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من خلال ..</a:t>
            </a:r>
          </a:p>
          <a:p>
            <a:pPr algn="r" rtl="1"/>
            <a:r>
              <a:rPr lang="ar-SA" altLang="ko-KR" sz="3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الصور التي أمامك تذكري طريقة الدخول للبرنامج وإنشاء ملف </a:t>
            </a:r>
            <a:r>
              <a:rPr lang="en-US" altLang="ko-KR" sz="3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TML </a:t>
            </a:r>
            <a:r>
              <a:rPr lang="ar-SA" altLang="ko-KR" sz="3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باسمك </a:t>
            </a:r>
            <a:endParaRPr lang="ar-SA" altLang="ko-KR" sz="3200" b="1" dirty="0">
              <a:solidFill>
                <a:srgbClr val="FFC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 rtl="1"/>
            <a:endParaRPr lang="ar-SA" altLang="ko-KR" sz="3200" b="1" dirty="0">
              <a:solidFill>
                <a:srgbClr val="FFC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 rtl="1"/>
            <a:r>
              <a:rPr lang="ar-SA" altLang="ko-KR" sz="3200" b="1" dirty="0">
                <a:solidFill>
                  <a:srgbClr val="FFC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الأسرع سيحصل على </a:t>
            </a:r>
          </a:p>
          <a:p>
            <a:pPr algn="r" rtl="1"/>
            <a:endParaRPr lang="ar-SA" altLang="ko-KR" sz="3200" b="1" dirty="0">
              <a:solidFill>
                <a:srgbClr val="FFC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 rtl="1"/>
            <a:endParaRPr lang="ko-KR" altLang="en-US" sz="3200" b="1" dirty="0">
              <a:solidFill>
                <a:srgbClr val="FFC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BE5BC24-23F8-46AC-8300-D4EC4D70DE63}"/>
              </a:ext>
            </a:extLst>
          </p:cNvPr>
          <p:cNvSpPr/>
          <p:nvPr/>
        </p:nvSpPr>
        <p:spPr>
          <a:xfrm flipH="1">
            <a:off x="2947341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3560F69-CA01-4BA0-A461-FB3A55271037}"/>
              </a:ext>
            </a:extLst>
          </p:cNvPr>
          <p:cNvSpPr/>
          <p:nvPr/>
        </p:nvSpPr>
        <p:spPr>
          <a:xfrm flipH="1">
            <a:off x="9537525" y="2906398"/>
            <a:ext cx="2499577" cy="6276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endParaRPr lang="en-US" sz="1100" dirty="0">
              <a:solidFill>
                <a:schemeClr val="accent3"/>
              </a:solidFill>
              <a:latin typeface="Source Sans Pro Light" panose="020B0403030403020204" pitchFamily="34" charset="-18"/>
            </a:endParaRPr>
          </a:p>
        </p:txBody>
      </p:sp>
      <p:pic>
        <p:nvPicPr>
          <p:cNvPr id="5" name="رسم 4" descr="وجه مُصمت مندهش بنجمتين في العينين مع تعبئة خالصة">
            <a:extLst>
              <a:ext uri="{FF2B5EF4-FFF2-40B4-BE49-F238E27FC236}">
                <a16:creationId xmlns:a16="http://schemas.microsoft.com/office/drawing/2014/main" id="{FDDC007E-A7C1-37CE-43BB-5C40D52074C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6854" y="3870398"/>
            <a:ext cx="914400" cy="914400"/>
          </a:xfrm>
          <a:prstGeom prst="rect">
            <a:avLst/>
          </a:prstGeom>
        </p:spPr>
      </p:pic>
      <p:pic>
        <p:nvPicPr>
          <p:cNvPr id="6" name="رسم 5" descr="وجه مُصمت مندهش بنجمتين في العينين مع تعبئة خالصة">
            <a:extLst>
              <a:ext uri="{FF2B5EF4-FFF2-40B4-BE49-F238E27FC236}">
                <a16:creationId xmlns:a16="http://schemas.microsoft.com/office/drawing/2014/main" id="{13C0D4B0-41CA-F2D6-36CC-6D0F5E3A609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872913" y="3836193"/>
            <a:ext cx="914400" cy="914400"/>
          </a:xfrm>
          <a:prstGeom prst="rect">
            <a:avLst/>
          </a:prstGeom>
        </p:spPr>
      </p:pic>
      <p:pic>
        <p:nvPicPr>
          <p:cNvPr id="9" name="صورة 8">
            <a:extLst>
              <a:ext uri="{FF2B5EF4-FFF2-40B4-BE49-F238E27FC236}">
                <a16:creationId xmlns:a16="http://schemas.microsoft.com/office/drawing/2014/main" id="{84EAA45F-867C-83D3-2685-6A7DD10DE40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9690" y="181687"/>
            <a:ext cx="7795609" cy="2054307"/>
          </a:xfrm>
          <a:prstGeom prst="rect">
            <a:avLst/>
          </a:prstGeom>
        </p:spPr>
      </p:pic>
      <p:pic>
        <p:nvPicPr>
          <p:cNvPr id="11" name="صورة 10">
            <a:extLst>
              <a:ext uri="{FF2B5EF4-FFF2-40B4-BE49-F238E27FC236}">
                <a16:creationId xmlns:a16="http://schemas.microsoft.com/office/drawing/2014/main" id="{189D4D7E-6548-FFDA-47B0-D92EB76B39D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19689" y="2299341"/>
            <a:ext cx="7795609" cy="1932806"/>
          </a:xfrm>
          <a:prstGeom prst="rect">
            <a:avLst/>
          </a:prstGeom>
        </p:spPr>
      </p:pic>
      <p:pic>
        <p:nvPicPr>
          <p:cNvPr id="15" name="صورة 14">
            <a:extLst>
              <a:ext uri="{FF2B5EF4-FFF2-40B4-BE49-F238E27FC236}">
                <a16:creationId xmlns:a16="http://schemas.microsoft.com/office/drawing/2014/main" id="{BAA083C4-16C8-9E30-1000-3BB651E44AE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19689" y="4295494"/>
            <a:ext cx="7795608" cy="2387684"/>
          </a:xfrm>
          <a:prstGeom prst="rect">
            <a:avLst/>
          </a:prstGeom>
        </p:spPr>
      </p:pic>
      <p:sp>
        <p:nvSpPr>
          <p:cNvPr id="16" name="مستطيل 15">
            <a:extLst>
              <a:ext uri="{FF2B5EF4-FFF2-40B4-BE49-F238E27FC236}">
                <a16:creationId xmlns:a16="http://schemas.microsoft.com/office/drawing/2014/main" id="{422661FD-40E2-3F80-E596-21E5CAA4B502}"/>
              </a:ext>
            </a:extLst>
          </p:cNvPr>
          <p:cNvSpPr/>
          <p:nvPr/>
        </p:nvSpPr>
        <p:spPr>
          <a:xfrm>
            <a:off x="4722888" y="583301"/>
            <a:ext cx="3199401" cy="907256"/>
          </a:xfrm>
          <a:prstGeom prst="rect">
            <a:avLst/>
          </a:prstGeom>
          <a:solidFill>
            <a:schemeClr val="accent1">
              <a:alpha val="7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ar-SA" b="1" dirty="0"/>
              <a:t>إنشاء ملف من + وكتابة الاسم وامتداد </a:t>
            </a:r>
            <a:r>
              <a:rPr lang="en-US" b="1" dirty="0">
                <a:solidFill>
                  <a:srgbClr val="C00000"/>
                </a:solidFill>
              </a:rPr>
              <a:t>.html</a:t>
            </a:r>
            <a:endParaRPr lang="ar-SA" b="1" dirty="0">
              <a:solidFill>
                <a:srgbClr val="C00000"/>
              </a:solidFill>
            </a:endParaRPr>
          </a:p>
        </p:txBody>
      </p:sp>
      <p:cxnSp>
        <p:nvCxnSpPr>
          <p:cNvPr id="17" name="رابط كسهم مستقيم 16">
            <a:extLst>
              <a:ext uri="{FF2B5EF4-FFF2-40B4-BE49-F238E27FC236}">
                <a16:creationId xmlns:a16="http://schemas.microsoft.com/office/drawing/2014/main" id="{51585AA1-4A4E-02A2-02D1-04FB78E6E655}"/>
              </a:ext>
            </a:extLst>
          </p:cNvPr>
          <p:cNvCxnSpPr>
            <a:cxnSpLocks/>
          </p:cNvCxnSpPr>
          <p:nvPr/>
        </p:nvCxnSpPr>
        <p:spPr>
          <a:xfrm flipH="1">
            <a:off x="2894427" y="774594"/>
            <a:ext cx="1828461" cy="6819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مستطيل 20">
            <a:extLst>
              <a:ext uri="{FF2B5EF4-FFF2-40B4-BE49-F238E27FC236}">
                <a16:creationId xmlns:a16="http://schemas.microsoft.com/office/drawing/2014/main" id="{7CD5DD74-EB16-30A2-65DD-E3D0090C76B3}"/>
              </a:ext>
            </a:extLst>
          </p:cNvPr>
          <p:cNvSpPr/>
          <p:nvPr/>
        </p:nvSpPr>
        <p:spPr>
          <a:xfrm>
            <a:off x="4718480" y="3036764"/>
            <a:ext cx="3199401" cy="1028029"/>
          </a:xfrm>
          <a:prstGeom prst="rect">
            <a:avLst/>
          </a:prstGeom>
          <a:solidFill>
            <a:schemeClr val="accent1">
              <a:alpha val="7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ar-SA" b="1" dirty="0"/>
              <a:t>لكتابة الأوامر اكتبي علامة ! وانقري </a:t>
            </a:r>
          </a:p>
          <a:p>
            <a:pPr algn="ctr"/>
            <a:r>
              <a:rPr lang="en-US" b="1" dirty="0"/>
              <a:t>ENTER</a:t>
            </a:r>
          </a:p>
          <a:p>
            <a:pPr algn="ctr"/>
            <a:r>
              <a:rPr lang="ar-SA" b="1" dirty="0"/>
              <a:t>ستظهر الأوامر الأساسية لبنية الصفحة </a:t>
            </a:r>
          </a:p>
        </p:txBody>
      </p:sp>
      <p:cxnSp>
        <p:nvCxnSpPr>
          <p:cNvPr id="25" name="رابط كسهم مستقيم 24">
            <a:extLst>
              <a:ext uri="{FF2B5EF4-FFF2-40B4-BE49-F238E27FC236}">
                <a16:creationId xmlns:a16="http://schemas.microsoft.com/office/drawing/2014/main" id="{C081A31B-6485-D942-7249-C052117F1828}"/>
              </a:ext>
            </a:extLst>
          </p:cNvPr>
          <p:cNvCxnSpPr>
            <a:cxnSpLocks/>
          </p:cNvCxnSpPr>
          <p:nvPr/>
        </p:nvCxnSpPr>
        <p:spPr>
          <a:xfrm>
            <a:off x="5546034" y="4064793"/>
            <a:ext cx="0" cy="1028701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4629854"/>
      </p:ext>
    </p:extLst>
  </p:cSld>
  <p:clrMapOvr>
    <a:masterClrMapping/>
  </p:clrMapOvr>
  <p:transition spd="slow">
    <p:wip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66" name="Content Placeholder 15">
            <a:extLst>
              <a:ext uri="{FF2B5EF4-FFF2-40B4-BE49-F238E27FC236}">
                <a16:creationId xmlns:a16="http://schemas.microsoft.com/office/drawing/2014/main" id="{17C7D2AA-5855-4FAB-9565-361243A59664}"/>
              </a:ext>
            </a:extLst>
          </p:cNvPr>
          <p:cNvSpPr txBox="1">
            <a:spLocks/>
          </p:cNvSpPr>
          <p:nvPr/>
        </p:nvSpPr>
        <p:spPr>
          <a:xfrm>
            <a:off x="8594520" y="95698"/>
            <a:ext cx="3441211" cy="2379548"/>
          </a:xfrm>
          <a:prstGeom prst="rect">
            <a:avLst/>
          </a:prstGeom>
        </p:spPr>
        <p:txBody>
          <a:bodyPr lIns="0" tIns="0" rIns="0" bIns="0">
            <a:normAutofit fontScale="92500" lnSpcReduction="10000"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r>
              <a:rPr lang="ar-SA" altLang="ko-KR" sz="3200" u="sng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من خلال قراءة الصور</a:t>
            </a:r>
          </a:p>
          <a:p>
            <a:pPr algn="r" rtl="1"/>
            <a:r>
              <a:rPr lang="ar-SA" altLang="ko-KR" sz="3200" dirty="0">
                <a:solidFill>
                  <a:srgbClr val="FFC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algn="r" rtl="1"/>
            <a:r>
              <a:rPr lang="ar-SA" altLang="ko-KR" sz="3200" dirty="0">
                <a:solidFill>
                  <a:srgbClr val="FFC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ar-SA" altLang="ko-KR" sz="32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اكتشفي اهم الوسوم التي تم استخدامها لإحداث التغير </a:t>
            </a:r>
          </a:p>
          <a:p>
            <a:pPr algn="r" rtl="1"/>
            <a:r>
              <a:rPr lang="ar-SA" altLang="ko-KR" sz="32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في الصورتين السابقتين </a:t>
            </a:r>
          </a:p>
          <a:p>
            <a:pPr algn="r" rtl="1"/>
            <a:r>
              <a:rPr lang="ar-SA" altLang="ko-KR" sz="2200" b="1" u="sng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يتم مناقشتها وكتابة الوسوم ..على السبورة </a:t>
            </a:r>
            <a:endParaRPr lang="ko-KR" altLang="en-US" sz="2200" b="1" u="sng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BE5BC24-23F8-46AC-8300-D4EC4D70DE63}"/>
              </a:ext>
            </a:extLst>
          </p:cNvPr>
          <p:cNvSpPr/>
          <p:nvPr/>
        </p:nvSpPr>
        <p:spPr>
          <a:xfrm flipH="1">
            <a:off x="2947341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3560F69-CA01-4BA0-A461-FB3A55271037}"/>
              </a:ext>
            </a:extLst>
          </p:cNvPr>
          <p:cNvSpPr/>
          <p:nvPr/>
        </p:nvSpPr>
        <p:spPr>
          <a:xfrm flipH="1">
            <a:off x="9692423" y="2591732"/>
            <a:ext cx="2499577" cy="6276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endParaRPr lang="en-US" sz="1100" dirty="0">
              <a:solidFill>
                <a:schemeClr val="accent3"/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0123" y="2538412"/>
            <a:ext cx="2096086" cy="6830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/>
          </a:p>
        </p:txBody>
      </p:sp>
      <p:sp>
        <p:nvSpPr>
          <p:cNvPr id="6" name="Rectangle 5"/>
          <p:cNvSpPr/>
          <p:nvPr/>
        </p:nvSpPr>
        <p:spPr>
          <a:xfrm>
            <a:off x="957776" y="2743199"/>
            <a:ext cx="2474741" cy="61897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/>
          </a:p>
        </p:txBody>
      </p:sp>
      <p:pic>
        <p:nvPicPr>
          <p:cNvPr id="3" name="صورة 2">
            <a:extLst>
              <a:ext uri="{FF2B5EF4-FFF2-40B4-BE49-F238E27FC236}">
                <a16:creationId xmlns:a16="http://schemas.microsoft.com/office/drawing/2014/main" id="{250EF919-E04E-8714-3CB7-D425968879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01263" y="2782292"/>
            <a:ext cx="3427727" cy="3479007"/>
          </a:xfrm>
          <a:prstGeom prst="rect">
            <a:avLst/>
          </a:prstGeom>
        </p:spPr>
      </p:pic>
      <p:pic>
        <p:nvPicPr>
          <p:cNvPr id="9" name="صورة 8">
            <a:extLst>
              <a:ext uri="{FF2B5EF4-FFF2-40B4-BE49-F238E27FC236}">
                <a16:creationId xmlns:a16="http://schemas.microsoft.com/office/drawing/2014/main" id="{8870EA3E-D55D-400F-7D54-8C108506B64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114710"/>
            <a:ext cx="8356209" cy="2935671"/>
          </a:xfrm>
          <a:prstGeom prst="rect">
            <a:avLst/>
          </a:prstGeom>
        </p:spPr>
      </p:pic>
      <p:pic>
        <p:nvPicPr>
          <p:cNvPr id="11" name="صورة 10">
            <a:extLst>
              <a:ext uri="{FF2B5EF4-FFF2-40B4-BE49-F238E27FC236}">
                <a16:creationId xmlns:a16="http://schemas.microsoft.com/office/drawing/2014/main" id="{A87C59B7-6804-92E1-8399-A66474B729C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3179644"/>
            <a:ext cx="8356208" cy="3585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12601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Placeholder 2"/>
          <p:cNvPicPr>
            <a:picLocks noGrp="1" noChangeAspect="1"/>
          </p:cNvPicPr>
          <p:nvPr>
            <p:ph type="pic" sz="quarter" idx="10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13" b="7813"/>
          <a:stretch>
            <a:fillRect/>
          </a:stretch>
        </p:blipFill>
        <p:spPr>
          <a:xfrm>
            <a:off x="0" y="-8549"/>
            <a:ext cx="12192000" cy="6866548"/>
          </a:xfrm>
        </p:spPr>
      </p:pic>
      <p:sp>
        <p:nvSpPr>
          <p:cNvPr id="2" name="Rectangle 1"/>
          <p:cNvSpPr/>
          <p:nvPr/>
        </p:nvSpPr>
        <p:spPr>
          <a:xfrm>
            <a:off x="0" y="-8548"/>
            <a:ext cx="12192000" cy="6866548"/>
          </a:xfrm>
          <a:prstGeom prst="rect">
            <a:avLst/>
          </a:prstGeom>
          <a:solidFill>
            <a:srgbClr val="262626">
              <a:alpha val="20000"/>
            </a:srgbClr>
          </a:solidFill>
          <a:ln w="6350">
            <a:noFill/>
          </a:ln>
        </p:spPr>
        <p:style>
          <a:lnRef idx="1">
            <a:schemeClr val="accen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121920" tIns="60960" rIns="121920" bIns="6096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63" name="Freeform 62"/>
          <p:cNvSpPr/>
          <p:nvPr/>
        </p:nvSpPr>
        <p:spPr>
          <a:xfrm rot="10800000">
            <a:off x="762956" y="2429579"/>
            <a:ext cx="3264174" cy="647892"/>
          </a:xfrm>
          <a:custGeom>
            <a:avLst/>
            <a:gdLst>
              <a:gd name="connsiteX0" fmla="*/ 2605737 w 2605737"/>
              <a:gd name="connsiteY0" fmla="*/ 1071116 h 1071116"/>
              <a:gd name="connsiteX1" fmla="*/ 0 w 2605737"/>
              <a:gd name="connsiteY1" fmla="*/ 1071116 h 1071116"/>
              <a:gd name="connsiteX2" fmla="*/ 0 w 2605737"/>
              <a:gd name="connsiteY2" fmla="*/ 144270 h 1071116"/>
              <a:gd name="connsiteX3" fmla="*/ 1181901 w 2605737"/>
              <a:gd name="connsiteY3" fmla="*/ 144270 h 1071116"/>
              <a:gd name="connsiteX4" fmla="*/ 1302869 w 2605737"/>
              <a:gd name="connsiteY4" fmla="*/ 0 h 1071116"/>
              <a:gd name="connsiteX5" fmla="*/ 1423837 w 2605737"/>
              <a:gd name="connsiteY5" fmla="*/ 144270 h 1071116"/>
              <a:gd name="connsiteX6" fmla="*/ 2605737 w 2605737"/>
              <a:gd name="connsiteY6" fmla="*/ 144270 h 1071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05737" h="1071116">
                <a:moveTo>
                  <a:pt x="2605737" y="1071116"/>
                </a:moveTo>
                <a:lnTo>
                  <a:pt x="0" y="1071116"/>
                </a:lnTo>
                <a:lnTo>
                  <a:pt x="0" y="144270"/>
                </a:lnTo>
                <a:lnTo>
                  <a:pt x="1181901" y="144270"/>
                </a:lnTo>
                <a:lnTo>
                  <a:pt x="1302869" y="0"/>
                </a:lnTo>
                <a:lnTo>
                  <a:pt x="1423837" y="144270"/>
                </a:lnTo>
                <a:lnTo>
                  <a:pt x="2605737" y="14427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65" name="Freeform 64"/>
          <p:cNvSpPr/>
          <p:nvPr/>
        </p:nvSpPr>
        <p:spPr>
          <a:xfrm rot="10800000">
            <a:off x="4688342" y="2454461"/>
            <a:ext cx="3261026" cy="645761"/>
          </a:xfrm>
          <a:custGeom>
            <a:avLst/>
            <a:gdLst>
              <a:gd name="connsiteX0" fmla="*/ 2605737 w 2605737"/>
              <a:gd name="connsiteY0" fmla="*/ 1071116 h 1071116"/>
              <a:gd name="connsiteX1" fmla="*/ 0 w 2605737"/>
              <a:gd name="connsiteY1" fmla="*/ 1071116 h 1071116"/>
              <a:gd name="connsiteX2" fmla="*/ 0 w 2605737"/>
              <a:gd name="connsiteY2" fmla="*/ 144270 h 1071116"/>
              <a:gd name="connsiteX3" fmla="*/ 1181901 w 2605737"/>
              <a:gd name="connsiteY3" fmla="*/ 144270 h 1071116"/>
              <a:gd name="connsiteX4" fmla="*/ 1302869 w 2605737"/>
              <a:gd name="connsiteY4" fmla="*/ 0 h 1071116"/>
              <a:gd name="connsiteX5" fmla="*/ 1423837 w 2605737"/>
              <a:gd name="connsiteY5" fmla="*/ 144270 h 1071116"/>
              <a:gd name="connsiteX6" fmla="*/ 2605737 w 2605737"/>
              <a:gd name="connsiteY6" fmla="*/ 144270 h 1071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05737" h="1071116">
                <a:moveTo>
                  <a:pt x="2605737" y="1071116"/>
                </a:moveTo>
                <a:lnTo>
                  <a:pt x="0" y="1071116"/>
                </a:lnTo>
                <a:lnTo>
                  <a:pt x="0" y="144270"/>
                </a:lnTo>
                <a:lnTo>
                  <a:pt x="1181901" y="144270"/>
                </a:lnTo>
                <a:lnTo>
                  <a:pt x="1302869" y="0"/>
                </a:lnTo>
                <a:lnTo>
                  <a:pt x="1423837" y="144270"/>
                </a:lnTo>
                <a:lnTo>
                  <a:pt x="2605737" y="14427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8369093" y="3180213"/>
            <a:ext cx="3709971" cy="3494994"/>
          </a:xfrm>
          <a:prstGeom prst="rect">
            <a:avLst/>
          </a:prstGeom>
          <a:solidFill>
            <a:srgbClr val="262626">
              <a:alpha val="50196"/>
            </a:srgbClr>
          </a:solidFill>
          <a:ln w="381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1" i="0" u="none" strike="noStrike" kern="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entury Gothic" panose="020B0502020202020204"/>
            </a:endParaRPr>
          </a:p>
        </p:txBody>
      </p:sp>
      <p:sp>
        <p:nvSpPr>
          <p:cNvPr id="67" name="Freeform 66"/>
          <p:cNvSpPr/>
          <p:nvPr/>
        </p:nvSpPr>
        <p:spPr>
          <a:xfrm rot="10800000">
            <a:off x="9040594" y="2469569"/>
            <a:ext cx="3129378" cy="725056"/>
          </a:xfrm>
          <a:custGeom>
            <a:avLst/>
            <a:gdLst>
              <a:gd name="connsiteX0" fmla="*/ 2605737 w 2605737"/>
              <a:gd name="connsiteY0" fmla="*/ 1071116 h 1071116"/>
              <a:gd name="connsiteX1" fmla="*/ 0 w 2605737"/>
              <a:gd name="connsiteY1" fmla="*/ 1071116 h 1071116"/>
              <a:gd name="connsiteX2" fmla="*/ 0 w 2605737"/>
              <a:gd name="connsiteY2" fmla="*/ 144270 h 1071116"/>
              <a:gd name="connsiteX3" fmla="*/ 1181901 w 2605737"/>
              <a:gd name="connsiteY3" fmla="*/ 144270 h 1071116"/>
              <a:gd name="connsiteX4" fmla="*/ 1302869 w 2605737"/>
              <a:gd name="connsiteY4" fmla="*/ 0 h 1071116"/>
              <a:gd name="connsiteX5" fmla="*/ 1423837 w 2605737"/>
              <a:gd name="connsiteY5" fmla="*/ 144270 h 1071116"/>
              <a:gd name="connsiteX6" fmla="*/ 2605737 w 2605737"/>
              <a:gd name="connsiteY6" fmla="*/ 144270 h 1071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05737" h="1071116">
                <a:moveTo>
                  <a:pt x="2605737" y="1071116"/>
                </a:moveTo>
                <a:lnTo>
                  <a:pt x="0" y="1071116"/>
                </a:lnTo>
                <a:lnTo>
                  <a:pt x="0" y="144270"/>
                </a:lnTo>
                <a:lnTo>
                  <a:pt x="1181901" y="144270"/>
                </a:lnTo>
                <a:lnTo>
                  <a:pt x="1302869" y="0"/>
                </a:lnTo>
                <a:lnTo>
                  <a:pt x="1423837" y="144270"/>
                </a:lnTo>
                <a:lnTo>
                  <a:pt x="2605737" y="14427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5" name="Content Placeholder 15"/>
          <p:cNvSpPr txBox="1">
            <a:spLocks/>
          </p:cNvSpPr>
          <p:nvPr/>
        </p:nvSpPr>
        <p:spPr>
          <a:xfrm>
            <a:off x="1218328" y="2513462"/>
            <a:ext cx="2602318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8899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ar-SA" sz="2800" b="0" i="0" u="none" strike="noStrike" kern="1200" cap="all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A Jannat LT" panose="01000000000000000000" pitchFamily="2" charset="-78"/>
                <a:ea typeface="+mj-ea"/>
                <a:cs typeface="A Jannat LT" panose="01000000000000000000" pitchFamily="2" charset="-78"/>
              </a:rPr>
              <a:t>السؤال</a:t>
            </a:r>
            <a:r>
              <a:rPr kumimoji="0" lang="ar-SA" sz="2800" b="0" i="0" u="none" strike="noStrike" kern="1200" cap="all" spc="0" normalizeH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A Jannat LT" panose="01000000000000000000" pitchFamily="2" charset="-78"/>
                <a:ea typeface="+mj-ea"/>
                <a:cs typeface="A Jannat LT" panose="01000000000000000000" pitchFamily="2" charset="-78"/>
              </a:rPr>
              <a:t> الثالث</a:t>
            </a:r>
            <a:endParaRPr kumimoji="0" lang="ko-KR" altLang="en-US" sz="3200" b="1" i="0" u="none" strike="noStrike" kern="1200" cap="all" spc="0" normalizeH="0" baseline="0" noProof="0" dirty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A Jannat LT" panose="01000000000000000000" pitchFamily="2" charset="-78"/>
              <a:ea typeface="+mj-ea"/>
              <a:cs typeface="A Jannat LT" panose="01000000000000000000" pitchFamily="2" charset="-78"/>
            </a:endParaRPr>
          </a:p>
        </p:txBody>
      </p:sp>
      <p:graphicFrame>
        <p:nvGraphicFramePr>
          <p:cNvPr id="31" name="عنصر نائب للمحتوى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06501747"/>
              </p:ext>
            </p:extLst>
          </p:nvPr>
        </p:nvGraphicFramePr>
        <p:xfrm>
          <a:off x="302211" y="631674"/>
          <a:ext cx="11431240" cy="1463040"/>
        </p:xfrm>
        <a:graphic>
          <a:graphicData uri="http://schemas.openxmlformats.org/drawingml/2006/table">
            <a:tbl>
              <a:tblPr rtl="1" firstRow="1" bandRow="1">
                <a:tableStyleId>{5C22544A-7EE6-4342-B048-85BDC9FD1C3A}</a:tableStyleId>
              </a:tblPr>
              <a:tblGrid>
                <a:gridCol w="28578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578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578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8578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68950">
                <a:tc>
                  <a:txBody>
                    <a:bodyPr/>
                    <a:lstStyle/>
                    <a:p>
                      <a:pPr algn="ctr" rtl="1"/>
                      <a:r>
                        <a:rPr lang="ar-SA" sz="2400" dirty="0"/>
                        <a:t>رقم النشاط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 rtl="1"/>
                      <a:endParaRPr lang="ar-SA" sz="24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SA" sz="2400" dirty="0"/>
                        <a:t>موضوع النشاط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SA" sz="2400" dirty="0"/>
                        <a:t>مراجعة الدرس السابق 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8950">
                <a:tc>
                  <a:txBody>
                    <a:bodyPr/>
                    <a:lstStyle/>
                    <a:p>
                      <a:pPr algn="ctr" rtl="1"/>
                      <a:r>
                        <a:rPr lang="ar-SA" sz="2400" dirty="0"/>
                        <a:t>مدة النشاط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SA" sz="2400" dirty="0"/>
                        <a:t>2د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SA" sz="2400" dirty="0"/>
                        <a:t>نوع النشاط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r" rtl="1"/>
                      <a:r>
                        <a:rPr lang="ar-SA" sz="2400" dirty="0"/>
                        <a:t>فردي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8950">
                <a:tc gridSpan="2">
                  <a:txBody>
                    <a:bodyPr/>
                    <a:lstStyle/>
                    <a:p>
                      <a:pPr algn="ctr" rtl="1"/>
                      <a:r>
                        <a:rPr lang="ar-SA" sz="2400" dirty="0"/>
                        <a:t>الاستراتيجية التعلمية النشطة</a:t>
                      </a:r>
                    </a:p>
                  </a:txBody>
                  <a:tcPr marL="121920" marR="121920" marT="60960" marB="60960"/>
                </a:tc>
                <a:tc hMerge="1">
                  <a:txBody>
                    <a:bodyPr/>
                    <a:lstStyle/>
                    <a:p>
                      <a:pPr rtl="1"/>
                      <a:endParaRPr lang="ar-SA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1"/>
                      <a:r>
                        <a:rPr lang="ar-SA" sz="2400" dirty="0"/>
                        <a:t>استراتيجية اكتشف الخطأ</a:t>
                      </a:r>
                    </a:p>
                  </a:txBody>
                  <a:tcPr marL="121920" marR="121920" marT="60960" marB="60960"/>
                </a:tc>
                <a:tc hMerge="1">
                  <a:txBody>
                    <a:bodyPr/>
                    <a:lstStyle/>
                    <a:p>
                      <a:pPr rtl="1"/>
                      <a:endParaRPr lang="ar-S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2" name="Content Placeholder 15"/>
          <p:cNvSpPr txBox="1">
            <a:spLocks/>
          </p:cNvSpPr>
          <p:nvPr/>
        </p:nvSpPr>
        <p:spPr>
          <a:xfrm>
            <a:off x="9040594" y="2561899"/>
            <a:ext cx="2602318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848899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ar-SA" altLang="ko-KR" sz="2800" dirty="0">
                <a:solidFill>
                  <a:prstClr val="white">
                    <a:lumMod val="95000"/>
                  </a:prstClr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السؤال الأول</a:t>
            </a:r>
            <a:endParaRPr kumimoji="0" lang="ko-KR" altLang="en-US" sz="3200" b="1" i="0" u="none" strike="noStrike" kern="1200" cap="all" spc="0" normalizeH="0" baseline="0" noProof="0" dirty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A Jannat LT" panose="01000000000000000000" pitchFamily="2" charset="-78"/>
              <a:ea typeface="+mj-ea"/>
              <a:cs typeface="A Jannat LT" panose="01000000000000000000" pitchFamily="2" charset="-78"/>
            </a:endParaRPr>
          </a:p>
        </p:txBody>
      </p:sp>
      <p:sp>
        <p:nvSpPr>
          <p:cNvPr id="34" name="Content Placeholder 15"/>
          <p:cNvSpPr txBox="1">
            <a:spLocks/>
          </p:cNvSpPr>
          <p:nvPr/>
        </p:nvSpPr>
        <p:spPr>
          <a:xfrm>
            <a:off x="4948526" y="2538082"/>
            <a:ext cx="2602318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8899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ar-SA" sz="2800" b="0" i="0" u="none" strike="noStrike" kern="1200" cap="all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A Jannat LT" panose="01000000000000000000" pitchFamily="2" charset="-78"/>
                <a:ea typeface="+mj-ea"/>
                <a:cs typeface="A Jannat LT" panose="01000000000000000000" pitchFamily="2" charset="-78"/>
              </a:rPr>
              <a:t>السؤال</a:t>
            </a:r>
            <a:r>
              <a:rPr kumimoji="0" lang="ar-SA" sz="2800" b="0" i="0" u="none" strike="noStrike" kern="1200" cap="all" spc="0" normalizeH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A Jannat LT" panose="01000000000000000000" pitchFamily="2" charset="-78"/>
                <a:ea typeface="+mj-ea"/>
                <a:cs typeface="A Jannat LT" panose="01000000000000000000" pitchFamily="2" charset="-78"/>
              </a:rPr>
              <a:t> الثاني </a:t>
            </a:r>
            <a:endParaRPr kumimoji="0" lang="ko-KR" altLang="en-US" sz="3200" b="1" i="0" u="none" strike="noStrike" kern="1200" cap="all" spc="0" normalizeH="0" baseline="0" noProof="0" dirty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A Jannat LT" panose="01000000000000000000" pitchFamily="2" charset="-78"/>
              <a:ea typeface="+mj-ea"/>
              <a:cs typeface="A Jannat LT" panose="01000000000000000000" pitchFamily="2" charset="-78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4645435" y="3194625"/>
            <a:ext cx="3489572" cy="3494994"/>
          </a:xfrm>
          <a:prstGeom prst="rect">
            <a:avLst/>
          </a:prstGeom>
          <a:solidFill>
            <a:srgbClr val="262626">
              <a:alpha val="50196"/>
            </a:srgbClr>
          </a:solidFill>
          <a:ln w="381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ar-SA" sz="4000" b="1" kern="0" dirty="0" err="1">
              <a:solidFill>
                <a:srgbClr val="FFC000"/>
              </a:solidFill>
              <a:latin typeface="Century Gothic" panose="020B0502020202020204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627625" y="3194625"/>
            <a:ext cx="3783724" cy="3494994"/>
          </a:xfrm>
          <a:prstGeom prst="rect">
            <a:avLst/>
          </a:prstGeom>
          <a:solidFill>
            <a:srgbClr val="262626">
              <a:alpha val="50196"/>
            </a:srgbClr>
          </a:solidFill>
          <a:ln w="381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ar-SA" sz="3600" b="1" kern="0" dirty="0">
              <a:solidFill>
                <a:srgbClr val="FFC000"/>
              </a:solidFill>
              <a:latin typeface="Century Gothic" panose="020B0502020202020204"/>
            </a:endParaRP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7625" y="1167931"/>
            <a:ext cx="1306673" cy="390525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8702139" y="3459967"/>
            <a:ext cx="3078182" cy="299184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1" anchor="ctr"/>
          <a:lstStyle/>
          <a:p>
            <a:pPr algn="ctr"/>
            <a:r>
              <a:rPr lang="ar-SA" sz="3200" b="1" dirty="0"/>
              <a:t>لكل مشروع في تعلم الآلة أربعة مراحل رئيسية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980396" y="3424724"/>
            <a:ext cx="3078182" cy="299184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1" anchor="ctr"/>
          <a:lstStyle/>
          <a:p>
            <a:pPr algn="ctr"/>
            <a:r>
              <a:rPr lang="ar-SA" sz="2800" b="1" dirty="0"/>
              <a:t>عند فتح المشروع في موقع </a:t>
            </a:r>
            <a:r>
              <a:rPr lang="ar-SA" sz="2800" b="1" dirty="0" err="1"/>
              <a:t>سكراتش</a:t>
            </a:r>
            <a:r>
              <a:rPr lang="ar-SA" sz="2800" b="1" dirty="0"/>
              <a:t> تم أضافة فئة الصور وهو اسم مشروعك في موقع الآلة </a:t>
            </a:r>
          </a:p>
        </p:txBody>
      </p:sp>
      <p:sp>
        <p:nvSpPr>
          <p:cNvPr id="22" name="Rectangle 21"/>
          <p:cNvSpPr/>
          <p:nvPr/>
        </p:nvSpPr>
        <p:spPr>
          <a:xfrm>
            <a:off x="4851130" y="3459968"/>
            <a:ext cx="3078182" cy="299184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1" anchor="ctr"/>
          <a:lstStyle/>
          <a:p>
            <a:pPr algn="ctr"/>
            <a:r>
              <a:rPr lang="ar-SA" sz="2400" b="1" dirty="0"/>
              <a:t>في المرحلة الثالثة استخدمنا قدرة الحاسب للتعرف على الأمثلة بواسطة  لعبة في </a:t>
            </a:r>
            <a:r>
              <a:rPr lang="ar-SA" sz="2400" b="1" dirty="0" err="1"/>
              <a:t>البايثون</a:t>
            </a:r>
            <a:r>
              <a:rPr lang="ar-SA" sz="2400" b="1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9219272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3" grpId="0" animBg="1"/>
      <p:bldP spid="65" grpId="0" animBg="1"/>
      <p:bldP spid="66" grpId="0" animBg="1"/>
      <p:bldP spid="67" grpId="0" animBg="1"/>
      <p:bldP spid="15" grpId="0"/>
      <p:bldP spid="32" grpId="0"/>
      <p:bldP spid="34" grpId="0"/>
      <p:bldP spid="35" grpId="0" animBg="1"/>
      <p:bldP spid="36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BE5BC24-23F8-46AC-8300-D4EC4D70DE63}"/>
              </a:ext>
            </a:extLst>
          </p:cNvPr>
          <p:cNvSpPr/>
          <p:nvPr/>
        </p:nvSpPr>
        <p:spPr>
          <a:xfrm flipH="1">
            <a:off x="2947341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3560F69-CA01-4BA0-A461-FB3A55271037}"/>
              </a:ext>
            </a:extLst>
          </p:cNvPr>
          <p:cNvSpPr/>
          <p:nvPr/>
        </p:nvSpPr>
        <p:spPr>
          <a:xfrm flipH="1">
            <a:off x="9692421" y="2608027"/>
            <a:ext cx="2499577" cy="6276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endParaRPr lang="en-US" sz="1100" dirty="0">
              <a:solidFill>
                <a:schemeClr val="accent3"/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0123" y="2538412"/>
            <a:ext cx="2096086" cy="6830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/>
          </a:p>
        </p:txBody>
      </p:sp>
      <p:sp>
        <p:nvSpPr>
          <p:cNvPr id="6" name="Rectangle 5"/>
          <p:cNvSpPr/>
          <p:nvPr/>
        </p:nvSpPr>
        <p:spPr>
          <a:xfrm>
            <a:off x="957776" y="2743199"/>
            <a:ext cx="2474741" cy="61897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/>
          </a:p>
        </p:txBody>
      </p:sp>
      <p:sp>
        <p:nvSpPr>
          <p:cNvPr id="2" name="Content Placeholder 15">
            <a:extLst>
              <a:ext uri="{FF2B5EF4-FFF2-40B4-BE49-F238E27FC236}">
                <a16:creationId xmlns:a16="http://schemas.microsoft.com/office/drawing/2014/main" id="{81B298D3-CCE6-405E-F6A0-FF30725AC3A3}"/>
              </a:ext>
            </a:extLst>
          </p:cNvPr>
          <p:cNvSpPr txBox="1">
            <a:spLocks/>
          </p:cNvSpPr>
          <p:nvPr/>
        </p:nvSpPr>
        <p:spPr>
          <a:xfrm>
            <a:off x="8509197" y="832697"/>
            <a:ext cx="3441211" cy="215392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r>
              <a:rPr lang="ar-SA" altLang="ko-KR" sz="3200" b="1" dirty="0">
                <a:solidFill>
                  <a:srgbClr val="0070C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تنسيق النص </a:t>
            </a:r>
          </a:p>
          <a:p>
            <a:pPr algn="r" rtl="1"/>
            <a:endParaRPr lang="ar-SA" altLang="ko-KR" sz="3200" b="1" dirty="0">
              <a:solidFill>
                <a:srgbClr val="FFC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r>
              <a:rPr lang="ar-SA" altLang="ko-KR" sz="3200" b="1" dirty="0">
                <a:solidFill>
                  <a:srgbClr val="FFC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التعرف علة الوسوم ..</a:t>
            </a:r>
            <a:endParaRPr lang="ar-SA" altLang="ko-KR" sz="3200" dirty="0">
              <a:solidFill>
                <a:srgbClr val="FFC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sp>
        <p:nvSpPr>
          <p:cNvPr id="9" name="Rectangle 30">
            <a:extLst>
              <a:ext uri="{FF2B5EF4-FFF2-40B4-BE49-F238E27FC236}">
                <a16:creationId xmlns:a16="http://schemas.microsoft.com/office/drawing/2014/main" id="{BCFA7B13-1698-10EE-962F-9A4D3DC71A5A}"/>
              </a:ext>
            </a:extLst>
          </p:cNvPr>
          <p:cNvSpPr/>
          <p:nvPr/>
        </p:nvSpPr>
        <p:spPr>
          <a:xfrm flipH="1">
            <a:off x="9692422" y="635794"/>
            <a:ext cx="2499577" cy="6276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endParaRPr lang="en-US" sz="1100" dirty="0">
              <a:solidFill>
                <a:schemeClr val="accent3"/>
              </a:solidFill>
              <a:latin typeface="Source Sans Pro Light" panose="020B0403030403020204" pitchFamily="34" charset="-18"/>
            </a:endParaRPr>
          </a:p>
        </p:txBody>
      </p:sp>
      <p:pic>
        <p:nvPicPr>
          <p:cNvPr id="11" name="صورة 10">
            <a:extLst>
              <a:ext uri="{FF2B5EF4-FFF2-40B4-BE49-F238E27FC236}">
                <a16:creationId xmlns:a16="http://schemas.microsoft.com/office/drawing/2014/main" id="{610D8E7B-0153-677C-4048-CF1314EAD4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1518" y="0"/>
            <a:ext cx="7468108" cy="6588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394006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BE5BC24-23F8-46AC-8300-D4EC4D70DE63}"/>
              </a:ext>
            </a:extLst>
          </p:cNvPr>
          <p:cNvSpPr/>
          <p:nvPr/>
        </p:nvSpPr>
        <p:spPr>
          <a:xfrm flipH="1">
            <a:off x="2947341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3560F69-CA01-4BA0-A461-FB3A55271037}"/>
              </a:ext>
            </a:extLst>
          </p:cNvPr>
          <p:cNvSpPr/>
          <p:nvPr/>
        </p:nvSpPr>
        <p:spPr>
          <a:xfrm flipH="1">
            <a:off x="9692421" y="2608027"/>
            <a:ext cx="2499577" cy="6276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endParaRPr lang="en-US" sz="1100" dirty="0">
              <a:solidFill>
                <a:schemeClr val="accent3"/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0123" y="2538412"/>
            <a:ext cx="2096086" cy="6830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/>
          </a:p>
        </p:txBody>
      </p:sp>
      <p:sp>
        <p:nvSpPr>
          <p:cNvPr id="6" name="Rectangle 5"/>
          <p:cNvSpPr/>
          <p:nvPr/>
        </p:nvSpPr>
        <p:spPr>
          <a:xfrm>
            <a:off x="957776" y="2743199"/>
            <a:ext cx="2474741" cy="61897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/>
          </a:p>
        </p:txBody>
      </p:sp>
      <p:sp>
        <p:nvSpPr>
          <p:cNvPr id="2" name="Content Placeholder 15">
            <a:extLst>
              <a:ext uri="{FF2B5EF4-FFF2-40B4-BE49-F238E27FC236}">
                <a16:creationId xmlns:a16="http://schemas.microsoft.com/office/drawing/2014/main" id="{81B298D3-CCE6-405E-F6A0-FF30725AC3A3}"/>
              </a:ext>
            </a:extLst>
          </p:cNvPr>
          <p:cNvSpPr txBox="1">
            <a:spLocks/>
          </p:cNvSpPr>
          <p:nvPr/>
        </p:nvSpPr>
        <p:spPr>
          <a:xfrm>
            <a:off x="8509197" y="832697"/>
            <a:ext cx="3441211" cy="215392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r>
              <a:rPr lang="ar-SA" altLang="ko-KR" sz="3200" b="1" dirty="0">
                <a:solidFill>
                  <a:srgbClr val="0070C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تنسيق الصورة  </a:t>
            </a:r>
          </a:p>
          <a:p>
            <a:pPr algn="r" rtl="1"/>
            <a:endParaRPr lang="ar-SA" altLang="ko-KR" sz="3200" b="1" dirty="0">
              <a:solidFill>
                <a:srgbClr val="FFC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sp>
        <p:nvSpPr>
          <p:cNvPr id="9" name="Rectangle 30">
            <a:extLst>
              <a:ext uri="{FF2B5EF4-FFF2-40B4-BE49-F238E27FC236}">
                <a16:creationId xmlns:a16="http://schemas.microsoft.com/office/drawing/2014/main" id="{BCFA7B13-1698-10EE-962F-9A4D3DC71A5A}"/>
              </a:ext>
            </a:extLst>
          </p:cNvPr>
          <p:cNvSpPr/>
          <p:nvPr/>
        </p:nvSpPr>
        <p:spPr>
          <a:xfrm flipH="1">
            <a:off x="9692422" y="635794"/>
            <a:ext cx="2499577" cy="6276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endParaRPr lang="en-US" sz="1100" dirty="0">
              <a:solidFill>
                <a:schemeClr val="accent3"/>
              </a:solidFill>
              <a:latin typeface="Source Sans Pro Light" panose="020B0403030403020204" pitchFamily="34" charset="-18"/>
            </a:endParaRPr>
          </a:p>
        </p:txBody>
      </p:sp>
      <p:pic>
        <p:nvPicPr>
          <p:cNvPr id="8" name="صورة 7">
            <a:extLst>
              <a:ext uri="{FF2B5EF4-FFF2-40B4-BE49-F238E27FC236}">
                <a16:creationId xmlns:a16="http://schemas.microsoft.com/office/drawing/2014/main" id="{45191929-13CD-4272-DD3B-0676380B22F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1592" y="228776"/>
            <a:ext cx="8026015" cy="3361767"/>
          </a:xfrm>
          <a:prstGeom prst="rect">
            <a:avLst/>
          </a:prstGeom>
        </p:spPr>
      </p:pic>
      <p:pic>
        <p:nvPicPr>
          <p:cNvPr id="12" name="صورة 11">
            <a:extLst>
              <a:ext uri="{FF2B5EF4-FFF2-40B4-BE49-F238E27FC236}">
                <a16:creationId xmlns:a16="http://schemas.microsoft.com/office/drawing/2014/main" id="{87B37E53-E241-0C07-F9F7-CD63FCF7890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7431" y="3795330"/>
            <a:ext cx="8174335" cy="2924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16943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BE5BC24-23F8-46AC-8300-D4EC4D70DE63}"/>
              </a:ext>
            </a:extLst>
          </p:cNvPr>
          <p:cNvSpPr/>
          <p:nvPr/>
        </p:nvSpPr>
        <p:spPr>
          <a:xfrm flipH="1">
            <a:off x="2947341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3560F69-CA01-4BA0-A461-FB3A55271037}"/>
              </a:ext>
            </a:extLst>
          </p:cNvPr>
          <p:cNvSpPr/>
          <p:nvPr/>
        </p:nvSpPr>
        <p:spPr>
          <a:xfrm flipH="1">
            <a:off x="9692421" y="2608027"/>
            <a:ext cx="2499577" cy="6276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endParaRPr lang="en-US" sz="1100" dirty="0">
              <a:solidFill>
                <a:schemeClr val="accent3"/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0123" y="2538412"/>
            <a:ext cx="2096086" cy="6830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/>
          </a:p>
        </p:txBody>
      </p:sp>
      <p:sp>
        <p:nvSpPr>
          <p:cNvPr id="6" name="Rectangle 5"/>
          <p:cNvSpPr/>
          <p:nvPr/>
        </p:nvSpPr>
        <p:spPr>
          <a:xfrm>
            <a:off x="957776" y="2743199"/>
            <a:ext cx="2474741" cy="61897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/>
          </a:p>
        </p:txBody>
      </p:sp>
      <p:sp>
        <p:nvSpPr>
          <p:cNvPr id="2" name="Content Placeholder 15">
            <a:extLst>
              <a:ext uri="{FF2B5EF4-FFF2-40B4-BE49-F238E27FC236}">
                <a16:creationId xmlns:a16="http://schemas.microsoft.com/office/drawing/2014/main" id="{81B298D3-CCE6-405E-F6A0-FF30725AC3A3}"/>
              </a:ext>
            </a:extLst>
          </p:cNvPr>
          <p:cNvSpPr txBox="1">
            <a:spLocks/>
          </p:cNvSpPr>
          <p:nvPr/>
        </p:nvSpPr>
        <p:spPr>
          <a:xfrm>
            <a:off x="8509197" y="832697"/>
            <a:ext cx="3441211" cy="215392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r>
              <a:rPr lang="ar-SA" altLang="ko-KR" sz="3200" b="1" dirty="0">
                <a:solidFill>
                  <a:srgbClr val="0070C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تنسيق عرض ملف الفيديو  </a:t>
            </a:r>
          </a:p>
          <a:p>
            <a:pPr algn="r" rtl="1"/>
            <a:endParaRPr lang="ar-SA" altLang="ko-KR" sz="3200" b="1" dirty="0">
              <a:solidFill>
                <a:srgbClr val="FFC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sp>
        <p:nvSpPr>
          <p:cNvPr id="9" name="Rectangle 30">
            <a:extLst>
              <a:ext uri="{FF2B5EF4-FFF2-40B4-BE49-F238E27FC236}">
                <a16:creationId xmlns:a16="http://schemas.microsoft.com/office/drawing/2014/main" id="{BCFA7B13-1698-10EE-962F-9A4D3DC71A5A}"/>
              </a:ext>
            </a:extLst>
          </p:cNvPr>
          <p:cNvSpPr/>
          <p:nvPr/>
        </p:nvSpPr>
        <p:spPr>
          <a:xfrm flipH="1">
            <a:off x="9692422" y="635794"/>
            <a:ext cx="2499577" cy="6276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endParaRPr lang="en-US" sz="1100" dirty="0">
              <a:solidFill>
                <a:schemeClr val="accent3"/>
              </a:solidFill>
              <a:latin typeface="Source Sans Pro Light" panose="020B0403030403020204" pitchFamily="34" charset="-18"/>
            </a:endParaRPr>
          </a:p>
        </p:txBody>
      </p:sp>
      <p:pic>
        <p:nvPicPr>
          <p:cNvPr id="10" name="صورة 9">
            <a:extLst>
              <a:ext uri="{FF2B5EF4-FFF2-40B4-BE49-F238E27FC236}">
                <a16:creationId xmlns:a16="http://schemas.microsoft.com/office/drawing/2014/main" id="{E759C4BD-B4D4-5644-A4F6-A6B4C0C0846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1450" y="166998"/>
            <a:ext cx="8184759" cy="6512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874068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BE5BC24-23F8-46AC-8300-D4EC4D70DE63}"/>
              </a:ext>
            </a:extLst>
          </p:cNvPr>
          <p:cNvSpPr/>
          <p:nvPr/>
        </p:nvSpPr>
        <p:spPr>
          <a:xfrm flipH="1">
            <a:off x="2947341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3560F69-CA01-4BA0-A461-FB3A55271037}"/>
              </a:ext>
            </a:extLst>
          </p:cNvPr>
          <p:cNvSpPr/>
          <p:nvPr/>
        </p:nvSpPr>
        <p:spPr>
          <a:xfrm flipH="1">
            <a:off x="9381097" y="794656"/>
            <a:ext cx="2499577" cy="6276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endParaRPr lang="en-US" sz="1100" dirty="0">
              <a:solidFill>
                <a:schemeClr val="accent3"/>
              </a:solidFill>
              <a:latin typeface="Source Sans Pro Light" panose="020B0403030403020204" pitchFamily="34" charset="-18"/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9804" y="240965"/>
            <a:ext cx="7908280" cy="1581484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844197" y="82279"/>
            <a:ext cx="3036477" cy="600075"/>
          </a:xfrm>
          <a:prstGeom prst="rect">
            <a:avLst/>
          </a:prstGeom>
        </p:spPr>
      </p:pic>
      <p:sp>
        <p:nvSpPr>
          <p:cNvPr id="20" name="Content Placeholder 15">
            <a:extLst>
              <a:ext uri="{FF2B5EF4-FFF2-40B4-BE49-F238E27FC236}">
                <a16:creationId xmlns:a16="http://schemas.microsoft.com/office/drawing/2014/main" id="{17C7D2AA-5855-4FAB-9565-361243A59664}"/>
              </a:ext>
            </a:extLst>
          </p:cNvPr>
          <p:cNvSpPr txBox="1">
            <a:spLocks/>
          </p:cNvSpPr>
          <p:nvPr/>
        </p:nvSpPr>
        <p:spPr>
          <a:xfrm>
            <a:off x="8298024" y="1258126"/>
            <a:ext cx="3582650" cy="2294543"/>
          </a:xfrm>
          <a:prstGeom prst="rect">
            <a:avLst/>
          </a:prstGeom>
        </p:spPr>
        <p:txBody>
          <a:bodyPr lIns="0" tIns="0" rIns="0" bIns="0">
            <a:normAutofit fontScale="77500" lnSpcReduction="20000"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r>
              <a:rPr lang="ar-SA" altLang="ko-KR" sz="3200" dirty="0">
                <a:solidFill>
                  <a:srgbClr val="0070C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بالرجوع لخطوات الكتاب ص97</a:t>
            </a:r>
          </a:p>
          <a:p>
            <a:pPr algn="r" rtl="1"/>
            <a:endParaRPr lang="ar-SA" altLang="ko-KR" sz="3200" dirty="0">
              <a:solidFill>
                <a:srgbClr val="0070C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altLang="ko-KR" sz="3200" dirty="0">
              <a:solidFill>
                <a:srgbClr val="0070C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r>
              <a:rPr lang="ar-SA" altLang="ko-KR" sz="3200" u="sng" dirty="0">
                <a:solidFill>
                  <a:srgbClr val="C00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الحصول على نقطتين للأسرع </a:t>
            </a:r>
          </a:p>
          <a:p>
            <a:pPr algn="r" rtl="1"/>
            <a:endParaRPr lang="ar-SA" altLang="ko-KR" sz="3200" dirty="0">
              <a:solidFill>
                <a:srgbClr val="0070C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altLang="ko-KR" sz="3200" dirty="0">
              <a:solidFill>
                <a:srgbClr val="0070C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r>
              <a:rPr lang="ar-SA" altLang="ko-KR" sz="3200" dirty="0">
                <a:solidFill>
                  <a:srgbClr val="0070C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</a:t>
            </a:r>
          </a:p>
          <a:p>
            <a:pPr algn="r" rtl="1"/>
            <a:endParaRPr lang="ko-KR" altLang="en-US" sz="3200" dirty="0">
              <a:solidFill>
                <a:srgbClr val="0070C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sp>
        <p:nvSpPr>
          <p:cNvPr id="23" name="Content Placeholder 15">
            <a:extLst>
              <a:ext uri="{FF2B5EF4-FFF2-40B4-BE49-F238E27FC236}">
                <a16:creationId xmlns:a16="http://schemas.microsoft.com/office/drawing/2014/main" id="{17C7D2AA-5855-4FAB-9565-361243A59664}"/>
              </a:ext>
            </a:extLst>
          </p:cNvPr>
          <p:cNvSpPr txBox="1">
            <a:spLocks/>
          </p:cNvSpPr>
          <p:nvPr/>
        </p:nvSpPr>
        <p:spPr>
          <a:xfrm>
            <a:off x="6320813" y="3158179"/>
            <a:ext cx="3582650" cy="247124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ar-SA" altLang="ko-KR" sz="2000" dirty="0">
              <a:solidFill>
                <a:schemeClr val="accent4">
                  <a:lumMod val="50000"/>
                </a:schemeClr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altLang="ko-KR" sz="2000" dirty="0">
              <a:solidFill>
                <a:schemeClr val="accent4">
                  <a:lumMod val="50000"/>
                </a:schemeClr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altLang="ko-KR" sz="3200" dirty="0">
              <a:solidFill>
                <a:srgbClr val="FFC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altLang="ko-KR" sz="3200" dirty="0">
              <a:solidFill>
                <a:srgbClr val="FFC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r>
              <a:rPr lang="ar-SA" altLang="ko-KR" sz="3200" dirty="0">
                <a:solidFill>
                  <a:srgbClr val="FFC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</a:t>
            </a:r>
          </a:p>
          <a:p>
            <a:pPr algn="r" rtl="1"/>
            <a:endParaRPr lang="ko-KR" altLang="en-US" sz="3200" dirty="0">
              <a:solidFill>
                <a:srgbClr val="FFC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sp>
        <p:nvSpPr>
          <p:cNvPr id="26" name="Content Placeholder 15">
            <a:extLst>
              <a:ext uri="{FF2B5EF4-FFF2-40B4-BE49-F238E27FC236}">
                <a16:creationId xmlns:a16="http://schemas.microsoft.com/office/drawing/2014/main" id="{17C7D2AA-5855-4FAB-9565-361243A59664}"/>
              </a:ext>
            </a:extLst>
          </p:cNvPr>
          <p:cNvSpPr txBox="1">
            <a:spLocks/>
          </p:cNvSpPr>
          <p:nvPr/>
        </p:nvSpPr>
        <p:spPr>
          <a:xfrm>
            <a:off x="426430" y="1392875"/>
            <a:ext cx="7874513" cy="431958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ar-SA" altLang="ko-KR" sz="3200" u="sng" dirty="0">
              <a:solidFill>
                <a:srgbClr val="C00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r>
              <a:rPr lang="ar-SA" altLang="ko-KR" sz="3200" u="sng" dirty="0">
                <a:solidFill>
                  <a:srgbClr val="C00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المهمة 1 : </a:t>
            </a:r>
          </a:p>
          <a:p>
            <a:pPr algn="r" rtl="1"/>
            <a:r>
              <a:rPr lang="ar-SA" altLang="ko-KR" sz="3200" u="sng" dirty="0">
                <a:solidFill>
                  <a:srgbClr val="C00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</a:t>
            </a:r>
            <a:endParaRPr lang="ko-KR" altLang="en-US" sz="3200" u="sng" dirty="0">
              <a:solidFill>
                <a:srgbClr val="C00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pic>
        <p:nvPicPr>
          <p:cNvPr id="6" name="صورة 5">
            <a:extLst>
              <a:ext uri="{FF2B5EF4-FFF2-40B4-BE49-F238E27FC236}">
                <a16:creationId xmlns:a16="http://schemas.microsoft.com/office/drawing/2014/main" id="{86996ECD-73AE-9BD0-25FD-E64F7D3748C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2081" y="1936844"/>
            <a:ext cx="6555660" cy="4799535"/>
          </a:xfrm>
          <a:prstGeom prst="rect">
            <a:avLst/>
          </a:prstGeom>
        </p:spPr>
      </p:pic>
      <p:pic>
        <p:nvPicPr>
          <p:cNvPr id="8" name="رسم 7" descr="وجه مُصمت مندهش بنجمتين في العينين مع تعبئة خالصة">
            <a:extLst>
              <a:ext uri="{FF2B5EF4-FFF2-40B4-BE49-F238E27FC236}">
                <a16:creationId xmlns:a16="http://schemas.microsoft.com/office/drawing/2014/main" id="{791F9315-8814-4796-7B97-7F68E747BF5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549346" y="2791679"/>
            <a:ext cx="914400" cy="914400"/>
          </a:xfrm>
          <a:prstGeom prst="rect">
            <a:avLst/>
          </a:prstGeom>
        </p:spPr>
      </p:pic>
      <p:pic>
        <p:nvPicPr>
          <p:cNvPr id="9" name="رسم 8" descr="وجه مُصمت مندهش بنجمتين في العينين مع تعبئة خالصة">
            <a:extLst>
              <a:ext uri="{FF2B5EF4-FFF2-40B4-BE49-F238E27FC236}">
                <a16:creationId xmlns:a16="http://schemas.microsoft.com/office/drawing/2014/main" id="{C4230021-3A03-A1F7-616E-F8A340938E3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635405" y="2757474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347622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BE5BC24-23F8-46AC-8300-D4EC4D70DE63}"/>
              </a:ext>
            </a:extLst>
          </p:cNvPr>
          <p:cNvSpPr/>
          <p:nvPr/>
        </p:nvSpPr>
        <p:spPr>
          <a:xfrm flipH="1">
            <a:off x="2947341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3560F69-CA01-4BA0-A461-FB3A55271037}"/>
              </a:ext>
            </a:extLst>
          </p:cNvPr>
          <p:cNvSpPr/>
          <p:nvPr/>
        </p:nvSpPr>
        <p:spPr>
          <a:xfrm flipH="1">
            <a:off x="9381097" y="794656"/>
            <a:ext cx="2499577" cy="6276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endParaRPr lang="en-US" sz="1100" dirty="0">
              <a:solidFill>
                <a:schemeClr val="accent3"/>
              </a:solidFill>
              <a:latin typeface="Source Sans Pro Light" panose="020B0403030403020204" pitchFamily="34" charset="-18"/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9804" y="240965"/>
            <a:ext cx="7908280" cy="1581484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844197" y="82279"/>
            <a:ext cx="3036477" cy="600075"/>
          </a:xfrm>
          <a:prstGeom prst="rect">
            <a:avLst/>
          </a:prstGeom>
        </p:spPr>
      </p:pic>
      <p:sp>
        <p:nvSpPr>
          <p:cNvPr id="20" name="Content Placeholder 15">
            <a:extLst>
              <a:ext uri="{FF2B5EF4-FFF2-40B4-BE49-F238E27FC236}">
                <a16:creationId xmlns:a16="http://schemas.microsoft.com/office/drawing/2014/main" id="{17C7D2AA-5855-4FAB-9565-361243A59664}"/>
              </a:ext>
            </a:extLst>
          </p:cNvPr>
          <p:cNvSpPr txBox="1">
            <a:spLocks/>
          </p:cNvSpPr>
          <p:nvPr/>
        </p:nvSpPr>
        <p:spPr>
          <a:xfrm>
            <a:off x="8298024" y="1258126"/>
            <a:ext cx="3582650" cy="2294543"/>
          </a:xfrm>
          <a:prstGeom prst="rect">
            <a:avLst/>
          </a:prstGeom>
        </p:spPr>
        <p:txBody>
          <a:bodyPr lIns="0" tIns="0" rIns="0" bIns="0">
            <a:normAutofit fontScale="77500" lnSpcReduction="20000"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r>
              <a:rPr lang="ar-SA" altLang="ko-KR" sz="3200" dirty="0">
                <a:solidFill>
                  <a:srgbClr val="0070C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بالرجوع لخطوات الكتاب ص97</a:t>
            </a:r>
          </a:p>
          <a:p>
            <a:pPr algn="r" rtl="1"/>
            <a:endParaRPr lang="ar-SA" altLang="ko-KR" sz="3200" dirty="0">
              <a:solidFill>
                <a:srgbClr val="0070C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altLang="ko-KR" sz="3200" dirty="0">
              <a:solidFill>
                <a:srgbClr val="0070C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r>
              <a:rPr lang="ar-SA" altLang="ko-KR" sz="3200" u="sng" dirty="0">
                <a:solidFill>
                  <a:srgbClr val="C00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الحصول على نقطتين للأسرع </a:t>
            </a:r>
          </a:p>
          <a:p>
            <a:pPr algn="r" rtl="1"/>
            <a:endParaRPr lang="ar-SA" altLang="ko-KR" sz="3200" dirty="0">
              <a:solidFill>
                <a:srgbClr val="0070C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altLang="ko-KR" sz="3200" dirty="0">
              <a:solidFill>
                <a:srgbClr val="0070C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r>
              <a:rPr lang="ar-SA" altLang="ko-KR" sz="3200" dirty="0">
                <a:solidFill>
                  <a:srgbClr val="0070C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</a:t>
            </a:r>
          </a:p>
          <a:p>
            <a:pPr algn="r" rtl="1"/>
            <a:endParaRPr lang="ko-KR" altLang="en-US" sz="3200" dirty="0">
              <a:solidFill>
                <a:srgbClr val="0070C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sp>
        <p:nvSpPr>
          <p:cNvPr id="23" name="Content Placeholder 15">
            <a:extLst>
              <a:ext uri="{FF2B5EF4-FFF2-40B4-BE49-F238E27FC236}">
                <a16:creationId xmlns:a16="http://schemas.microsoft.com/office/drawing/2014/main" id="{17C7D2AA-5855-4FAB-9565-361243A59664}"/>
              </a:ext>
            </a:extLst>
          </p:cNvPr>
          <p:cNvSpPr txBox="1">
            <a:spLocks/>
          </p:cNvSpPr>
          <p:nvPr/>
        </p:nvSpPr>
        <p:spPr>
          <a:xfrm>
            <a:off x="6320813" y="3158179"/>
            <a:ext cx="3582650" cy="247124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ar-SA" altLang="ko-KR" sz="2000" dirty="0">
              <a:solidFill>
                <a:schemeClr val="accent4">
                  <a:lumMod val="50000"/>
                </a:schemeClr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altLang="ko-KR" sz="2000" dirty="0">
              <a:solidFill>
                <a:schemeClr val="accent4">
                  <a:lumMod val="50000"/>
                </a:schemeClr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altLang="ko-KR" sz="3200" dirty="0">
              <a:solidFill>
                <a:srgbClr val="FFC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altLang="ko-KR" sz="3200" dirty="0">
              <a:solidFill>
                <a:srgbClr val="FFC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r>
              <a:rPr lang="ar-SA" altLang="ko-KR" sz="3200" dirty="0">
                <a:solidFill>
                  <a:srgbClr val="FFC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</a:t>
            </a:r>
          </a:p>
          <a:p>
            <a:pPr algn="r" rtl="1"/>
            <a:endParaRPr lang="ko-KR" altLang="en-US" sz="3200" dirty="0">
              <a:solidFill>
                <a:srgbClr val="FFC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sp>
        <p:nvSpPr>
          <p:cNvPr id="26" name="Content Placeholder 15">
            <a:extLst>
              <a:ext uri="{FF2B5EF4-FFF2-40B4-BE49-F238E27FC236}">
                <a16:creationId xmlns:a16="http://schemas.microsoft.com/office/drawing/2014/main" id="{17C7D2AA-5855-4FAB-9565-361243A59664}"/>
              </a:ext>
            </a:extLst>
          </p:cNvPr>
          <p:cNvSpPr txBox="1">
            <a:spLocks/>
          </p:cNvSpPr>
          <p:nvPr/>
        </p:nvSpPr>
        <p:spPr>
          <a:xfrm>
            <a:off x="426430" y="1392875"/>
            <a:ext cx="7874513" cy="431958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ar-SA" altLang="ko-KR" sz="3200" u="sng" dirty="0">
              <a:solidFill>
                <a:srgbClr val="C00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r>
              <a:rPr lang="ar-SA" altLang="ko-KR" sz="3200" u="sng" dirty="0">
                <a:solidFill>
                  <a:srgbClr val="C00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المهمة 1 : </a:t>
            </a:r>
          </a:p>
          <a:p>
            <a:pPr algn="r" rtl="1"/>
            <a:r>
              <a:rPr lang="ar-SA" altLang="ko-KR" sz="3200" u="sng" dirty="0">
                <a:solidFill>
                  <a:srgbClr val="C00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</a:t>
            </a:r>
            <a:endParaRPr lang="ko-KR" altLang="en-US" sz="3200" u="sng" dirty="0">
              <a:solidFill>
                <a:srgbClr val="C00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pic>
        <p:nvPicPr>
          <p:cNvPr id="8" name="رسم 7" descr="وجه مُصمت مندهش بنجمتين في العينين مع تعبئة خالصة">
            <a:extLst>
              <a:ext uri="{FF2B5EF4-FFF2-40B4-BE49-F238E27FC236}">
                <a16:creationId xmlns:a16="http://schemas.microsoft.com/office/drawing/2014/main" id="{791F9315-8814-4796-7B97-7F68E747BF5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549346" y="2791679"/>
            <a:ext cx="914400" cy="914400"/>
          </a:xfrm>
          <a:prstGeom prst="rect">
            <a:avLst/>
          </a:prstGeom>
        </p:spPr>
      </p:pic>
      <p:pic>
        <p:nvPicPr>
          <p:cNvPr id="9" name="رسم 8" descr="وجه مُصمت مندهش بنجمتين في العينين مع تعبئة خالصة">
            <a:extLst>
              <a:ext uri="{FF2B5EF4-FFF2-40B4-BE49-F238E27FC236}">
                <a16:creationId xmlns:a16="http://schemas.microsoft.com/office/drawing/2014/main" id="{C4230021-3A03-A1F7-616E-F8A340938E3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635405" y="2757474"/>
            <a:ext cx="914400" cy="914400"/>
          </a:xfrm>
          <a:prstGeom prst="rect">
            <a:avLst/>
          </a:prstGeom>
        </p:spPr>
      </p:pic>
      <p:pic>
        <p:nvPicPr>
          <p:cNvPr id="3" name="صورة 2">
            <a:extLst>
              <a:ext uri="{FF2B5EF4-FFF2-40B4-BE49-F238E27FC236}">
                <a16:creationId xmlns:a16="http://schemas.microsoft.com/office/drawing/2014/main" id="{4499F22E-CAB5-4356-28D0-C8263D077A1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660866" y="3706079"/>
            <a:ext cx="3228975" cy="2209800"/>
          </a:xfrm>
          <a:prstGeom prst="rect">
            <a:avLst/>
          </a:prstGeom>
        </p:spPr>
      </p:pic>
      <p:pic>
        <p:nvPicPr>
          <p:cNvPr id="10" name="صورة 9">
            <a:extLst>
              <a:ext uri="{FF2B5EF4-FFF2-40B4-BE49-F238E27FC236}">
                <a16:creationId xmlns:a16="http://schemas.microsoft.com/office/drawing/2014/main" id="{0DB011A4-BB4B-49F6-D933-2A88C91BDEC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26430" y="2450150"/>
            <a:ext cx="7603839" cy="414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301005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BE5BC24-23F8-46AC-8300-D4EC4D70DE63}"/>
              </a:ext>
            </a:extLst>
          </p:cNvPr>
          <p:cNvSpPr/>
          <p:nvPr/>
        </p:nvSpPr>
        <p:spPr>
          <a:xfrm flipH="1">
            <a:off x="2947341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3560F69-CA01-4BA0-A461-FB3A55271037}"/>
              </a:ext>
            </a:extLst>
          </p:cNvPr>
          <p:cNvSpPr/>
          <p:nvPr/>
        </p:nvSpPr>
        <p:spPr>
          <a:xfrm flipH="1">
            <a:off x="9381097" y="794656"/>
            <a:ext cx="2499577" cy="6276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endParaRPr lang="en-US" sz="1100" dirty="0">
              <a:solidFill>
                <a:schemeClr val="accent3"/>
              </a:solidFill>
              <a:latin typeface="Source Sans Pro Light" panose="020B0403030403020204" pitchFamily="34" charset="-18"/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9804" y="240965"/>
            <a:ext cx="7908280" cy="1581484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844197" y="82279"/>
            <a:ext cx="3036477" cy="600075"/>
          </a:xfrm>
          <a:prstGeom prst="rect">
            <a:avLst/>
          </a:prstGeom>
        </p:spPr>
      </p:pic>
      <p:sp>
        <p:nvSpPr>
          <p:cNvPr id="20" name="Content Placeholder 15">
            <a:extLst>
              <a:ext uri="{FF2B5EF4-FFF2-40B4-BE49-F238E27FC236}">
                <a16:creationId xmlns:a16="http://schemas.microsoft.com/office/drawing/2014/main" id="{17C7D2AA-5855-4FAB-9565-361243A59664}"/>
              </a:ext>
            </a:extLst>
          </p:cNvPr>
          <p:cNvSpPr txBox="1">
            <a:spLocks/>
          </p:cNvSpPr>
          <p:nvPr/>
        </p:nvSpPr>
        <p:spPr>
          <a:xfrm>
            <a:off x="8298024" y="1258126"/>
            <a:ext cx="3582650" cy="2294543"/>
          </a:xfrm>
          <a:prstGeom prst="rect">
            <a:avLst/>
          </a:prstGeom>
        </p:spPr>
        <p:txBody>
          <a:bodyPr lIns="0" tIns="0" rIns="0" bIns="0">
            <a:normAutofit fontScale="77500" lnSpcReduction="20000"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r>
              <a:rPr lang="ar-SA" altLang="ko-KR" sz="3200" dirty="0">
                <a:solidFill>
                  <a:srgbClr val="0070C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بالرجوع لخطوات الكتاب ص97</a:t>
            </a:r>
          </a:p>
          <a:p>
            <a:pPr algn="r" rtl="1"/>
            <a:endParaRPr lang="ar-SA" altLang="ko-KR" sz="3200" dirty="0">
              <a:solidFill>
                <a:srgbClr val="0070C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altLang="ko-KR" sz="3200" dirty="0">
              <a:solidFill>
                <a:srgbClr val="0070C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r>
              <a:rPr lang="ar-SA" altLang="ko-KR" sz="3200" u="sng" dirty="0">
                <a:solidFill>
                  <a:srgbClr val="C00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الحصول على نقطتين للأسرع </a:t>
            </a:r>
          </a:p>
          <a:p>
            <a:pPr algn="r" rtl="1"/>
            <a:endParaRPr lang="ar-SA" altLang="ko-KR" sz="3200" dirty="0">
              <a:solidFill>
                <a:srgbClr val="0070C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altLang="ko-KR" sz="3200" dirty="0">
              <a:solidFill>
                <a:srgbClr val="0070C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r>
              <a:rPr lang="ar-SA" altLang="ko-KR" sz="3200" dirty="0">
                <a:solidFill>
                  <a:srgbClr val="0070C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</a:t>
            </a:r>
          </a:p>
          <a:p>
            <a:pPr algn="r" rtl="1"/>
            <a:endParaRPr lang="ko-KR" altLang="en-US" sz="3200" dirty="0">
              <a:solidFill>
                <a:srgbClr val="0070C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sp>
        <p:nvSpPr>
          <p:cNvPr id="23" name="Content Placeholder 15">
            <a:extLst>
              <a:ext uri="{FF2B5EF4-FFF2-40B4-BE49-F238E27FC236}">
                <a16:creationId xmlns:a16="http://schemas.microsoft.com/office/drawing/2014/main" id="{17C7D2AA-5855-4FAB-9565-361243A59664}"/>
              </a:ext>
            </a:extLst>
          </p:cNvPr>
          <p:cNvSpPr txBox="1">
            <a:spLocks/>
          </p:cNvSpPr>
          <p:nvPr/>
        </p:nvSpPr>
        <p:spPr>
          <a:xfrm>
            <a:off x="6320813" y="3158179"/>
            <a:ext cx="3582650" cy="247124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ar-SA" altLang="ko-KR" sz="2000" dirty="0">
              <a:solidFill>
                <a:schemeClr val="accent4">
                  <a:lumMod val="50000"/>
                </a:schemeClr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altLang="ko-KR" sz="2000" dirty="0">
              <a:solidFill>
                <a:schemeClr val="accent4">
                  <a:lumMod val="50000"/>
                </a:schemeClr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altLang="ko-KR" sz="3200" dirty="0">
              <a:solidFill>
                <a:srgbClr val="FFC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altLang="ko-KR" sz="3200" dirty="0">
              <a:solidFill>
                <a:srgbClr val="FFC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r>
              <a:rPr lang="ar-SA" altLang="ko-KR" sz="3200" dirty="0">
                <a:solidFill>
                  <a:srgbClr val="FFC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</a:t>
            </a:r>
          </a:p>
          <a:p>
            <a:pPr algn="r" rtl="1"/>
            <a:endParaRPr lang="ko-KR" altLang="en-US" sz="3200" dirty="0">
              <a:solidFill>
                <a:srgbClr val="FFC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sp>
        <p:nvSpPr>
          <p:cNvPr id="26" name="Content Placeholder 15">
            <a:extLst>
              <a:ext uri="{FF2B5EF4-FFF2-40B4-BE49-F238E27FC236}">
                <a16:creationId xmlns:a16="http://schemas.microsoft.com/office/drawing/2014/main" id="{17C7D2AA-5855-4FAB-9565-361243A59664}"/>
              </a:ext>
            </a:extLst>
          </p:cNvPr>
          <p:cNvSpPr txBox="1">
            <a:spLocks/>
          </p:cNvSpPr>
          <p:nvPr/>
        </p:nvSpPr>
        <p:spPr>
          <a:xfrm>
            <a:off x="426430" y="1392875"/>
            <a:ext cx="7874513" cy="431958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ar-SA" altLang="ko-KR" sz="3200" u="sng" dirty="0">
              <a:solidFill>
                <a:srgbClr val="C00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r>
              <a:rPr lang="ar-SA" altLang="ko-KR" sz="3200" u="sng" dirty="0">
                <a:solidFill>
                  <a:srgbClr val="C00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المهمة 2 : </a:t>
            </a:r>
          </a:p>
          <a:p>
            <a:pPr algn="r" rtl="1"/>
            <a:r>
              <a:rPr lang="ar-SA" altLang="ko-KR" sz="3200" u="sng" dirty="0">
                <a:solidFill>
                  <a:srgbClr val="C00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</a:t>
            </a:r>
            <a:endParaRPr lang="ko-KR" altLang="en-US" sz="3200" u="sng" dirty="0">
              <a:solidFill>
                <a:srgbClr val="C00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pic>
        <p:nvPicPr>
          <p:cNvPr id="8" name="رسم 7" descr="وجه مُصمت مندهش بنجمتين في العينين مع تعبئة خالصة">
            <a:extLst>
              <a:ext uri="{FF2B5EF4-FFF2-40B4-BE49-F238E27FC236}">
                <a16:creationId xmlns:a16="http://schemas.microsoft.com/office/drawing/2014/main" id="{791F9315-8814-4796-7B97-7F68E747BF5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549346" y="2791679"/>
            <a:ext cx="914400" cy="914400"/>
          </a:xfrm>
          <a:prstGeom prst="rect">
            <a:avLst/>
          </a:prstGeom>
        </p:spPr>
      </p:pic>
      <p:pic>
        <p:nvPicPr>
          <p:cNvPr id="9" name="رسم 8" descr="وجه مُصمت مندهش بنجمتين في العينين مع تعبئة خالصة">
            <a:extLst>
              <a:ext uri="{FF2B5EF4-FFF2-40B4-BE49-F238E27FC236}">
                <a16:creationId xmlns:a16="http://schemas.microsoft.com/office/drawing/2014/main" id="{C4230021-3A03-A1F7-616E-F8A340938E3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635405" y="2757474"/>
            <a:ext cx="914400" cy="914400"/>
          </a:xfrm>
          <a:prstGeom prst="rect">
            <a:avLst/>
          </a:prstGeom>
        </p:spPr>
      </p:pic>
      <p:pic>
        <p:nvPicPr>
          <p:cNvPr id="3" name="صورة 2">
            <a:extLst>
              <a:ext uri="{FF2B5EF4-FFF2-40B4-BE49-F238E27FC236}">
                <a16:creationId xmlns:a16="http://schemas.microsoft.com/office/drawing/2014/main" id="{5DE90C09-5031-EA15-6AC8-DCF21DA6C9C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64306" y="1928131"/>
            <a:ext cx="6412634" cy="4880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058038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BE5BC24-23F8-46AC-8300-D4EC4D70DE63}"/>
              </a:ext>
            </a:extLst>
          </p:cNvPr>
          <p:cNvSpPr/>
          <p:nvPr/>
        </p:nvSpPr>
        <p:spPr>
          <a:xfrm flipH="1">
            <a:off x="2947341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3560F69-CA01-4BA0-A461-FB3A55271037}"/>
              </a:ext>
            </a:extLst>
          </p:cNvPr>
          <p:cNvSpPr/>
          <p:nvPr/>
        </p:nvSpPr>
        <p:spPr>
          <a:xfrm flipH="1">
            <a:off x="9381097" y="794656"/>
            <a:ext cx="2499577" cy="6276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endParaRPr lang="en-US" sz="1100" dirty="0">
              <a:solidFill>
                <a:schemeClr val="accent3"/>
              </a:solidFill>
              <a:latin typeface="Source Sans Pro Light" panose="020B0403030403020204" pitchFamily="34" charset="-18"/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9804" y="240965"/>
            <a:ext cx="7908280" cy="1581484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844197" y="82279"/>
            <a:ext cx="3036477" cy="600075"/>
          </a:xfrm>
          <a:prstGeom prst="rect">
            <a:avLst/>
          </a:prstGeom>
        </p:spPr>
      </p:pic>
      <p:sp>
        <p:nvSpPr>
          <p:cNvPr id="20" name="Content Placeholder 15">
            <a:extLst>
              <a:ext uri="{FF2B5EF4-FFF2-40B4-BE49-F238E27FC236}">
                <a16:creationId xmlns:a16="http://schemas.microsoft.com/office/drawing/2014/main" id="{17C7D2AA-5855-4FAB-9565-361243A59664}"/>
              </a:ext>
            </a:extLst>
          </p:cNvPr>
          <p:cNvSpPr txBox="1">
            <a:spLocks/>
          </p:cNvSpPr>
          <p:nvPr/>
        </p:nvSpPr>
        <p:spPr>
          <a:xfrm>
            <a:off x="8298024" y="1258126"/>
            <a:ext cx="3582650" cy="2294543"/>
          </a:xfrm>
          <a:prstGeom prst="rect">
            <a:avLst/>
          </a:prstGeom>
        </p:spPr>
        <p:txBody>
          <a:bodyPr lIns="0" tIns="0" rIns="0" bIns="0">
            <a:normAutofit fontScale="77500" lnSpcReduction="20000"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r>
              <a:rPr lang="ar-SA" altLang="ko-KR" sz="3200" dirty="0">
                <a:solidFill>
                  <a:srgbClr val="0070C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بالرجوع لخطوات الكتاب ص97</a:t>
            </a:r>
          </a:p>
          <a:p>
            <a:pPr algn="r" rtl="1"/>
            <a:endParaRPr lang="ar-SA" altLang="ko-KR" sz="3200" dirty="0">
              <a:solidFill>
                <a:srgbClr val="0070C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altLang="ko-KR" sz="3200" dirty="0">
              <a:solidFill>
                <a:srgbClr val="0070C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r>
              <a:rPr lang="ar-SA" altLang="ko-KR" sz="3200" u="sng" dirty="0">
                <a:solidFill>
                  <a:srgbClr val="C00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الحصول على نقطتين للأسرع </a:t>
            </a:r>
          </a:p>
          <a:p>
            <a:pPr algn="r" rtl="1"/>
            <a:endParaRPr lang="ar-SA" altLang="ko-KR" sz="3200" dirty="0">
              <a:solidFill>
                <a:srgbClr val="0070C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altLang="ko-KR" sz="3200" dirty="0">
              <a:solidFill>
                <a:srgbClr val="0070C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r>
              <a:rPr lang="ar-SA" altLang="ko-KR" sz="3200" dirty="0">
                <a:solidFill>
                  <a:srgbClr val="0070C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</a:t>
            </a:r>
          </a:p>
          <a:p>
            <a:pPr algn="r" rtl="1"/>
            <a:endParaRPr lang="ko-KR" altLang="en-US" sz="3200" dirty="0">
              <a:solidFill>
                <a:srgbClr val="0070C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sp>
        <p:nvSpPr>
          <p:cNvPr id="23" name="Content Placeholder 15">
            <a:extLst>
              <a:ext uri="{FF2B5EF4-FFF2-40B4-BE49-F238E27FC236}">
                <a16:creationId xmlns:a16="http://schemas.microsoft.com/office/drawing/2014/main" id="{17C7D2AA-5855-4FAB-9565-361243A59664}"/>
              </a:ext>
            </a:extLst>
          </p:cNvPr>
          <p:cNvSpPr txBox="1">
            <a:spLocks/>
          </p:cNvSpPr>
          <p:nvPr/>
        </p:nvSpPr>
        <p:spPr>
          <a:xfrm>
            <a:off x="6320813" y="3158179"/>
            <a:ext cx="3582650" cy="247124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ar-SA" altLang="ko-KR" sz="2000" dirty="0">
              <a:solidFill>
                <a:schemeClr val="accent4">
                  <a:lumMod val="50000"/>
                </a:schemeClr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altLang="ko-KR" sz="2000" dirty="0">
              <a:solidFill>
                <a:schemeClr val="accent4">
                  <a:lumMod val="50000"/>
                </a:schemeClr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altLang="ko-KR" sz="3200" dirty="0">
              <a:solidFill>
                <a:srgbClr val="FFC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altLang="ko-KR" sz="3200" dirty="0">
              <a:solidFill>
                <a:srgbClr val="FFC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r>
              <a:rPr lang="ar-SA" altLang="ko-KR" sz="3200" dirty="0">
                <a:solidFill>
                  <a:srgbClr val="FFC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</a:t>
            </a:r>
          </a:p>
          <a:p>
            <a:pPr algn="r" rtl="1"/>
            <a:endParaRPr lang="ko-KR" altLang="en-US" sz="3200" dirty="0">
              <a:solidFill>
                <a:srgbClr val="FFC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sp>
        <p:nvSpPr>
          <p:cNvPr id="26" name="Content Placeholder 15">
            <a:extLst>
              <a:ext uri="{FF2B5EF4-FFF2-40B4-BE49-F238E27FC236}">
                <a16:creationId xmlns:a16="http://schemas.microsoft.com/office/drawing/2014/main" id="{17C7D2AA-5855-4FAB-9565-361243A59664}"/>
              </a:ext>
            </a:extLst>
          </p:cNvPr>
          <p:cNvSpPr txBox="1">
            <a:spLocks/>
          </p:cNvSpPr>
          <p:nvPr/>
        </p:nvSpPr>
        <p:spPr>
          <a:xfrm>
            <a:off x="426430" y="1392875"/>
            <a:ext cx="7874513" cy="431958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ar-SA" altLang="ko-KR" sz="3200" u="sng" dirty="0">
              <a:solidFill>
                <a:srgbClr val="C00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r>
              <a:rPr lang="ar-SA" altLang="ko-KR" sz="3200" u="sng" dirty="0">
                <a:solidFill>
                  <a:srgbClr val="C00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المهمة 2 : </a:t>
            </a:r>
          </a:p>
          <a:p>
            <a:pPr algn="r" rtl="1"/>
            <a:r>
              <a:rPr lang="ar-SA" altLang="ko-KR" sz="3200" u="sng" dirty="0">
                <a:solidFill>
                  <a:srgbClr val="C00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</a:t>
            </a:r>
            <a:endParaRPr lang="ko-KR" altLang="en-US" sz="3200" u="sng" dirty="0">
              <a:solidFill>
                <a:srgbClr val="C00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pic>
        <p:nvPicPr>
          <p:cNvPr id="8" name="رسم 7" descr="وجه مُصمت مندهش بنجمتين في العينين مع تعبئة خالصة">
            <a:extLst>
              <a:ext uri="{FF2B5EF4-FFF2-40B4-BE49-F238E27FC236}">
                <a16:creationId xmlns:a16="http://schemas.microsoft.com/office/drawing/2014/main" id="{791F9315-8814-4796-7B97-7F68E747BF5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549346" y="2791679"/>
            <a:ext cx="914400" cy="914400"/>
          </a:xfrm>
          <a:prstGeom prst="rect">
            <a:avLst/>
          </a:prstGeom>
        </p:spPr>
      </p:pic>
      <p:pic>
        <p:nvPicPr>
          <p:cNvPr id="9" name="رسم 8" descr="وجه مُصمت مندهش بنجمتين في العينين مع تعبئة خالصة">
            <a:extLst>
              <a:ext uri="{FF2B5EF4-FFF2-40B4-BE49-F238E27FC236}">
                <a16:creationId xmlns:a16="http://schemas.microsoft.com/office/drawing/2014/main" id="{C4230021-3A03-A1F7-616E-F8A340938E3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635405" y="2757474"/>
            <a:ext cx="914400" cy="914400"/>
          </a:xfrm>
          <a:prstGeom prst="rect">
            <a:avLst/>
          </a:prstGeom>
        </p:spPr>
      </p:pic>
      <p:pic>
        <p:nvPicPr>
          <p:cNvPr id="5" name="صورة 4">
            <a:extLst>
              <a:ext uri="{FF2B5EF4-FFF2-40B4-BE49-F238E27FC236}">
                <a16:creationId xmlns:a16="http://schemas.microsoft.com/office/drawing/2014/main" id="{BBAC8E54-A05F-1D27-F50C-01B4BB0958D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461379" y="3722502"/>
            <a:ext cx="4486416" cy="1408686"/>
          </a:xfrm>
          <a:prstGeom prst="rect">
            <a:avLst/>
          </a:prstGeom>
        </p:spPr>
      </p:pic>
      <p:pic>
        <p:nvPicPr>
          <p:cNvPr id="10" name="صورة 9">
            <a:extLst>
              <a:ext uri="{FF2B5EF4-FFF2-40B4-BE49-F238E27FC236}">
                <a16:creationId xmlns:a16="http://schemas.microsoft.com/office/drawing/2014/main" id="{169D2805-586D-52C8-A8B0-546D57CEF72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24571" y="2032137"/>
            <a:ext cx="6690925" cy="4505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78210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" t="12192" r="354" b="4034"/>
          <a:stretch/>
        </p:blipFill>
        <p:spPr/>
      </p:pic>
      <p:sp>
        <p:nvSpPr>
          <p:cNvPr id="24" name="Rectangle 23"/>
          <p:cNvSpPr/>
          <p:nvPr/>
        </p:nvSpPr>
        <p:spPr>
          <a:xfrm flipH="1">
            <a:off x="0" y="-8549"/>
            <a:ext cx="4813310" cy="6866549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t-LT" sz="3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25" name="Rectangle 24"/>
          <p:cNvSpPr/>
          <p:nvPr/>
        </p:nvSpPr>
        <p:spPr>
          <a:xfrm flipH="1">
            <a:off x="405234" y="3599185"/>
            <a:ext cx="4243980" cy="67710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44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 Jannat LT" panose="01000000000000000000" pitchFamily="2" charset="-78"/>
                <a:ea typeface="+mn-ea"/>
                <a:cs typeface="A Jannat LT" panose="01000000000000000000" pitchFamily="2" charset="-78"/>
              </a:rPr>
              <a:t>تقويم النهائي  </a:t>
            </a:r>
            <a:endParaRPr kumimoji="0" lang="ko-KR" altLang="en-US" sz="44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 Jannat LT" panose="01000000000000000000" pitchFamily="2" charset="-78"/>
              <a:ea typeface="+mn-ea"/>
              <a:cs typeface="A Jannat LT" panose="01000000000000000000" pitchFamily="2" charset="-78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365794" y="326495"/>
            <a:ext cx="5258752" cy="5886943"/>
          </a:xfrm>
          <a:prstGeom prst="rect">
            <a:avLst/>
          </a:prstGeom>
          <a:noFill/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>
            <a:off x="3553143" y="1503563"/>
            <a:ext cx="72778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val 41"/>
          <p:cNvSpPr/>
          <p:nvPr/>
        </p:nvSpPr>
        <p:spPr>
          <a:xfrm>
            <a:off x="7566223" y="1984881"/>
            <a:ext cx="2876544" cy="2876544"/>
          </a:xfrm>
          <a:prstGeom prst="ellipse">
            <a:avLst/>
          </a:prstGeom>
          <a:noFill/>
          <a:ln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3" name="Oval 32"/>
          <p:cNvSpPr/>
          <p:nvPr/>
        </p:nvSpPr>
        <p:spPr>
          <a:xfrm>
            <a:off x="7521610" y="1940268"/>
            <a:ext cx="2965768" cy="2965768"/>
          </a:xfrm>
          <a:prstGeom prst="ellipse">
            <a:avLst/>
          </a:prstGeom>
          <a:noFill/>
          <a:ln w="317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7396887" y="2379990"/>
            <a:ext cx="666045" cy="66604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4" name="Oval 33"/>
          <p:cNvSpPr/>
          <p:nvPr/>
        </p:nvSpPr>
        <p:spPr>
          <a:xfrm>
            <a:off x="7339912" y="3203019"/>
            <a:ext cx="384884" cy="38488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5" name="Oval 34"/>
          <p:cNvSpPr/>
          <p:nvPr/>
        </p:nvSpPr>
        <p:spPr>
          <a:xfrm>
            <a:off x="7944038" y="2116156"/>
            <a:ext cx="297701" cy="2977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6" name="Oval 35"/>
          <p:cNvSpPr/>
          <p:nvPr/>
        </p:nvSpPr>
        <p:spPr>
          <a:xfrm>
            <a:off x="9781393" y="4242129"/>
            <a:ext cx="474373" cy="47437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7" name="Oval 36"/>
          <p:cNvSpPr/>
          <p:nvPr/>
        </p:nvSpPr>
        <p:spPr>
          <a:xfrm>
            <a:off x="10169141" y="4011741"/>
            <a:ext cx="278538" cy="27853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8" name="Oval 37"/>
          <p:cNvSpPr/>
          <p:nvPr/>
        </p:nvSpPr>
        <p:spPr>
          <a:xfrm>
            <a:off x="9632542" y="2064962"/>
            <a:ext cx="297701" cy="2977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9" name="Oval 38"/>
          <p:cNvSpPr/>
          <p:nvPr/>
        </p:nvSpPr>
        <p:spPr>
          <a:xfrm>
            <a:off x="9958065" y="2297680"/>
            <a:ext cx="164620" cy="16462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0" name="Oval 39"/>
          <p:cNvSpPr/>
          <p:nvPr/>
        </p:nvSpPr>
        <p:spPr>
          <a:xfrm>
            <a:off x="8159429" y="4589036"/>
            <a:ext cx="164620" cy="16462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1" name="Oval 40"/>
          <p:cNvSpPr/>
          <p:nvPr/>
        </p:nvSpPr>
        <p:spPr>
          <a:xfrm>
            <a:off x="8357684" y="4512788"/>
            <a:ext cx="658099" cy="6580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8" name="Freeform 13"/>
          <p:cNvSpPr>
            <a:spLocks noEditPoints="1"/>
          </p:cNvSpPr>
          <p:nvPr/>
        </p:nvSpPr>
        <p:spPr bwMode="auto">
          <a:xfrm>
            <a:off x="3988167" y="5269688"/>
            <a:ext cx="687257" cy="776288"/>
          </a:xfrm>
          <a:custGeom>
            <a:avLst/>
            <a:gdLst>
              <a:gd name="T0" fmla="*/ 435 w 1487"/>
              <a:gd name="T1" fmla="*/ 1680 h 1680"/>
              <a:gd name="T2" fmla="*/ 346 w 1487"/>
              <a:gd name="T3" fmla="*/ 1283 h 1680"/>
              <a:gd name="T4" fmla="*/ 627 w 1487"/>
              <a:gd name="T5" fmla="*/ 1194 h 1680"/>
              <a:gd name="T6" fmla="*/ 654 w 1487"/>
              <a:gd name="T7" fmla="*/ 1074 h 1680"/>
              <a:gd name="T8" fmla="*/ 299 w 1487"/>
              <a:gd name="T9" fmla="*/ 672 h 1680"/>
              <a:gd name="T10" fmla="*/ 66 w 1487"/>
              <a:gd name="T11" fmla="*/ 441 h 1680"/>
              <a:gd name="T12" fmla="*/ 252 w 1487"/>
              <a:gd name="T13" fmla="*/ 0 h 1680"/>
              <a:gd name="T14" fmla="*/ 979 w 1487"/>
              <a:gd name="T15" fmla="*/ 14 h 1680"/>
              <a:gd name="T16" fmla="*/ 252 w 1487"/>
              <a:gd name="T17" fmla="*/ 28 h 1680"/>
              <a:gd name="T18" fmla="*/ 90 w 1487"/>
              <a:gd name="T19" fmla="*/ 426 h 1680"/>
              <a:gd name="T20" fmla="*/ 327 w 1487"/>
              <a:gd name="T21" fmla="*/ 668 h 1680"/>
              <a:gd name="T22" fmla="*/ 682 w 1487"/>
              <a:gd name="T23" fmla="*/ 1074 h 1680"/>
              <a:gd name="T24" fmla="*/ 627 w 1487"/>
              <a:gd name="T25" fmla="*/ 1222 h 1680"/>
              <a:gd name="T26" fmla="*/ 374 w 1487"/>
              <a:gd name="T27" fmla="*/ 1283 h 1680"/>
              <a:gd name="T28" fmla="*/ 435 w 1487"/>
              <a:gd name="T29" fmla="*/ 1652 h 1680"/>
              <a:gd name="T30" fmla="*/ 1113 w 1487"/>
              <a:gd name="T31" fmla="*/ 1591 h 1680"/>
              <a:gd name="T32" fmla="*/ 1051 w 1487"/>
              <a:gd name="T33" fmla="*/ 1222 h 1680"/>
              <a:gd name="T34" fmla="*/ 804 w 1487"/>
              <a:gd name="T35" fmla="*/ 1167 h 1680"/>
              <a:gd name="T36" fmla="*/ 845 w 1487"/>
              <a:gd name="T37" fmla="*/ 1024 h 1680"/>
              <a:gd name="T38" fmla="*/ 1005 w 1487"/>
              <a:gd name="T39" fmla="*/ 963 h 1680"/>
              <a:gd name="T40" fmla="*/ 851 w 1487"/>
              <a:gd name="T41" fmla="*/ 1051 h 1680"/>
              <a:gd name="T42" fmla="*/ 832 w 1487"/>
              <a:gd name="T43" fmla="*/ 1167 h 1680"/>
              <a:gd name="T44" fmla="*/ 1051 w 1487"/>
              <a:gd name="T45" fmla="*/ 1194 h 1680"/>
              <a:gd name="T46" fmla="*/ 1141 w 1487"/>
              <a:gd name="T47" fmla="*/ 1591 h 1680"/>
              <a:gd name="T48" fmla="*/ 1109 w 1487"/>
              <a:gd name="T49" fmla="*/ 864 h 1680"/>
              <a:gd name="T50" fmla="*/ 1097 w 1487"/>
              <a:gd name="T51" fmla="*/ 842 h 1680"/>
              <a:gd name="T52" fmla="*/ 1140 w 1487"/>
              <a:gd name="T53" fmla="*/ 793 h 1680"/>
              <a:gd name="T54" fmla="*/ 1121 w 1487"/>
              <a:gd name="T55" fmla="*/ 857 h 1680"/>
              <a:gd name="T56" fmla="*/ 1160 w 1487"/>
              <a:gd name="T57" fmla="*/ 754 h 1680"/>
              <a:gd name="T58" fmla="*/ 1146 w 1487"/>
              <a:gd name="T59" fmla="*/ 736 h 1680"/>
              <a:gd name="T60" fmla="*/ 1192 w 1487"/>
              <a:gd name="T61" fmla="*/ 618 h 1680"/>
              <a:gd name="T62" fmla="*/ 1442 w 1487"/>
              <a:gd name="T63" fmla="*/ 197 h 1680"/>
              <a:gd name="T64" fmla="*/ 1235 w 1487"/>
              <a:gd name="T65" fmla="*/ 28 h 1680"/>
              <a:gd name="T66" fmla="*/ 1235 w 1487"/>
              <a:gd name="T67" fmla="*/ 0 h 1680"/>
              <a:gd name="T68" fmla="*/ 1469 w 1487"/>
              <a:gd name="T69" fmla="*/ 190 h 1680"/>
              <a:gd name="T70" fmla="*/ 1207 w 1487"/>
              <a:gd name="T71" fmla="*/ 642 h 1680"/>
              <a:gd name="T72" fmla="*/ 1173 w 1487"/>
              <a:gd name="T73" fmla="*/ 744 h 1680"/>
              <a:gd name="T74" fmla="*/ 285 w 1487"/>
              <a:gd name="T75" fmla="*/ 450 h 1680"/>
              <a:gd name="T76" fmla="*/ 163 w 1487"/>
              <a:gd name="T77" fmla="*/ 227 h 1680"/>
              <a:gd name="T78" fmla="*/ 252 w 1487"/>
              <a:gd name="T79" fmla="*/ 150 h 1680"/>
              <a:gd name="T80" fmla="*/ 323 w 1487"/>
              <a:gd name="T81" fmla="*/ 412 h 1680"/>
              <a:gd name="T82" fmla="*/ 285 w 1487"/>
              <a:gd name="T83" fmla="*/ 450 h 1680"/>
              <a:gd name="T84" fmla="*/ 278 w 1487"/>
              <a:gd name="T85" fmla="*/ 419 h 1680"/>
              <a:gd name="T86" fmla="*/ 295 w 1487"/>
              <a:gd name="T87" fmla="*/ 412 h 1680"/>
              <a:gd name="T88" fmla="*/ 252 w 1487"/>
              <a:gd name="T89" fmla="*/ 178 h 1680"/>
              <a:gd name="T90" fmla="*/ 1202 w 1487"/>
              <a:gd name="T91" fmla="*/ 449 h 1680"/>
              <a:gd name="T92" fmla="*/ 1164 w 1487"/>
              <a:gd name="T93" fmla="*/ 411 h 1680"/>
              <a:gd name="T94" fmla="*/ 1235 w 1487"/>
              <a:gd name="T95" fmla="*/ 150 h 1680"/>
              <a:gd name="T96" fmla="*/ 1228 w 1487"/>
              <a:gd name="T97" fmla="*/ 439 h 1680"/>
              <a:gd name="T98" fmla="*/ 1192 w 1487"/>
              <a:gd name="T99" fmla="*/ 178 h 1680"/>
              <a:gd name="T100" fmla="*/ 1198 w 1487"/>
              <a:gd name="T101" fmla="*/ 420 h 1680"/>
              <a:gd name="T102" fmla="*/ 1296 w 1487"/>
              <a:gd name="T103" fmla="*/ 234 h 1680"/>
              <a:gd name="T104" fmla="*/ 1192 w 1487"/>
              <a:gd name="T105" fmla="*/ 178 h 1680"/>
              <a:gd name="T106" fmla="*/ 1055 w 1487"/>
              <a:gd name="T107" fmla="*/ 28 h 1680"/>
              <a:gd name="T108" fmla="*/ 1055 w 1487"/>
              <a:gd name="T109" fmla="*/ 0 h 1680"/>
              <a:gd name="T110" fmla="*/ 1179 w 1487"/>
              <a:gd name="T111" fmla="*/ 14 h 1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487" h="1680">
                <a:moveTo>
                  <a:pt x="1051" y="1680"/>
                </a:moveTo>
                <a:cubicBezTo>
                  <a:pt x="435" y="1680"/>
                  <a:pt x="435" y="1680"/>
                  <a:pt x="435" y="1680"/>
                </a:cubicBezTo>
                <a:cubicBezTo>
                  <a:pt x="386" y="1680"/>
                  <a:pt x="346" y="1640"/>
                  <a:pt x="346" y="1591"/>
                </a:cubicBezTo>
                <a:cubicBezTo>
                  <a:pt x="346" y="1283"/>
                  <a:pt x="346" y="1283"/>
                  <a:pt x="346" y="1283"/>
                </a:cubicBezTo>
                <a:cubicBezTo>
                  <a:pt x="346" y="1234"/>
                  <a:pt x="386" y="1194"/>
                  <a:pt x="435" y="1194"/>
                </a:cubicBezTo>
                <a:cubicBezTo>
                  <a:pt x="627" y="1194"/>
                  <a:pt x="627" y="1194"/>
                  <a:pt x="627" y="1194"/>
                </a:cubicBezTo>
                <a:cubicBezTo>
                  <a:pt x="642" y="1194"/>
                  <a:pt x="654" y="1182"/>
                  <a:pt x="654" y="1167"/>
                </a:cubicBezTo>
                <a:cubicBezTo>
                  <a:pt x="654" y="1074"/>
                  <a:pt x="654" y="1074"/>
                  <a:pt x="654" y="1074"/>
                </a:cubicBezTo>
                <a:cubicBezTo>
                  <a:pt x="654" y="1063"/>
                  <a:pt x="647" y="1053"/>
                  <a:pt x="635" y="1051"/>
                </a:cubicBezTo>
                <a:cubicBezTo>
                  <a:pt x="457" y="1006"/>
                  <a:pt x="322" y="854"/>
                  <a:pt x="299" y="672"/>
                </a:cubicBezTo>
                <a:cubicBezTo>
                  <a:pt x="298" y="660"/>
                  <a:pt x="291" y="649"/>
                  <a:pt x="280" y="643"/>
                </a:cubicBezTo>
                <a:cubicBezTo>
                  <a:pt x="184" y="582"/>
                  <a:pt x="111" y="514"/>
                  <a:pt x="66" y="441"/>
                </a:cubicBezTo>
                <a:cubicBezTo>
                  <a:pt x="0" y="336"/>
                  <a:pt x="4" y="247"/>
                  <a:pt x="18" y="190"/>
                </a:cubicBezTo>
                <a:cubicBezTo>
                  <a:pt x="47" y="78"/>
                  <a:pt x="143" y="0"/>
                  <a:pt x="252" y="0"/>
                </a:cubicBezTo>
                <a:cubicBezTo>
                  <a:pt x="965" y="0"/>
                  <a:pt x="965" y="0"/>
                  <a:pt x="965" y="0"/>
                </a:cubicBezTo>
                <a:cubicBezTo>
                  <a:pt x="973" y="0"/>
                  <a:pt x="979" y="6"/>
                  <a:pt x="979" y="14"/>
                </a:cubicBezTo>
                <a:cubicBezTo>
                  <a:pt x="979" y="22"/>
                  <a:pt x="973" y="28"/>
                  <a:pt x="965" y="28"/>
                </a:cubicBezTo>
                <a:cubicBezTo>
                  <a:pt x="252" y="28"/>
                  <a:pt x="252" y="28"/>
                  <a:pt x="252" y="28"/>
                </a:cubicBezTo>
                <a:cubicBezTo>
                  <a:pt x="156" y="28"/>
                  <a:pt x="71" y="98"/>
                  <a:pt x="45" y="197"/>
                </a:cubicBezTo>
                <a:cubicBezTo>
                  <a:pt x="32" y="248"/>
                  <a:pt x="29" y="330"/>
                  <a:pt x="90" y="426"/>
                </a:cubicBezTo>
                <a:cubicBezTo>
                  <a:pt x="133" y="495"/>
                  <a:pt x="202" y="560"/>
                  <a:pt x="295" y="619"/>
                </a:cubicBezTo>
                <a:cubicBezTo>
                  <a:pt x="313" y="630"/>
                  <a:pt x="324" y="648"/>
                  <a:pt x="327" y="668"/>
                </a:cubicBezTo>
                <a:cubicBezTo>
                  <a:pt x="348" y="839"/>
                  <a:pt x="475" y="982"/>
                  <a:pt x="642" y="1023"/>
                </a:cubicBezTo>
                <a:cubicBezTo>
                  <a:pt x="666" y="1029"/>
                  <a:pt x="682" y="1050"/>
                  <a:pt x="682" y="1074"/>
                </a:cubicBezTo>
                <a:cubicBezTo>
                  <a:pt x="682" y="1167"/>
                  <a:pt x="682" y="1167"/>
                  <a:pt x="682" y="1167"/>
                </a:cubicBezTo>
                <a:cubicBezTo>
                  <a:pt x="682" y="1197"/>
                  <a:pt x="658" y="1222"/>
                  <a:pt x="627" y="1222"/>
                </a:cubicBezTo>
                <a:cubicBezTo>
                  <a:pt x="435" y="1222"/>
                  <a:pt x="435" y="1222"/>
                  <a:pt x="435" y="1222"/>
                </a:cubicBezTo>
                <a:cubicBezTo>
                  <a:pt x="402" y="1222"/>
                  <a:pt x="374" y="1249"/>
                  <a:pt x="374" y="1283"/>
                </a:cubicBezTo>
                <a:cubicBezTo>
                  <a:pt x="374" y="1591"/>
                  <a:pt x="374" y="1591"/>
                  <a:pt x="374" y="1591"/>
                </a:cubicBezTo>
                <a:cubicBezTo>
                  <a:pt x="374" y="1625"/>
                  <a:pt x="402" y="1652"/>
                  <a:pt x="435" y="1652"/>
                </a:cubicBezTo>
                <a:cubicBezTo>
                  <a:pt x="1051" y="1652"/>
                  <a:pt x="1051" y="1652"/>
                  <a:pt x="1051" y="1652"/>
                </a:cubicBezTo>
                <a:cubicBezTo>
                  <a:pt x="1085" y="1652"/>
                  <a:pt x="1113" y="1625"/>
                  <a:pt x="1113" y="1591"/>
                </a:cubicBezTo>
                <a:cubicBezTo>
                  <a:pt x="1113" y="1283"/>
                  <a:pt x="1113" y="1283"/>
                  <a:pt x="1113" y="1283"/>
                </a:cubicBezTo>
                <a:cubicBezTo>
                  <a:pt x="1113" y="1249"/>
                  <a:pt x="1085" y="1222"/>
                  <a:pt x="1051" y="1222"/>
                </a:cubicBezTo>
                <a:cubicBezTo>
                  <a:pt x="860" y="1222"/>
                  <a:pt x="860" y="1222"/>
                  <a:pt x="860" y="1222"/>
                </a:cubicBezTo>
                <a:cubicBezTo>
                  <a:pt x="829" y="1222"/>
                  <a:pt x="804" y="1197"/>
                  <a:pt x="804" y="1167"/>
                </a:cubicBezTo>
                <a:cubicBezTo>
                  <a:pt x="804" y="1075"/>
                  <a:pt x="804" y="1075"/>
                  <a:pt x="804" y="1075"/>
                </a:cubicBezTo>
                <a:cubicBezTo>
                  <a:pt x="804" y="1050"/>
                  <a:pt x="821" y="1029"/>
                  <a:pt x="845" y="1024"/>
                </a:cubicBezTo>
                <a:cubicBezTo>
                  <a:pt x="895" y="1011"/>
                  <a:pt x="942" y="990"/>
                  <a:pt x="985" y="960"/>
                </a:cubicBezTo>
                <a:cubicBezTo>
                  <a:pt x="991" y="955"/>
                  <a:pt x="1000" y="957"/>
                  <a:pt x="1005" y="963"/>
                </a:cubicBezTo>
                <a:cubicBezTo>
                  <a:pt x="1009" y="969"/>
                  <a:pt x="1007" y="978"/>
                  <a:pt x="1001" y="982"/>
                </a:cubicBezTo>
                <a:cubicBezTo>
                  <a:pt x="956" y="1014"/>
                  <a:pt x="905" y="1037"/>
                  <a:pt x="851" y="1051"/>
                </a:cubicBezTo>
                <a:cubicBezTo>
                  <a:pt x="840" y="1054"/>
                  <a:pt x="832" y="1063"/>
                  <a:pt x="832" y="1075"/>
                </a:cubicBezTo>
                <a:cubicBezTo>
                  <a:pt x="832" y="1167"/>
                  <a:pt x="832" y="1167"/>
                  <a:pt x="832" y="1167"/>
                </a:cubicBezTo>
                <a:cubicBezTo>
                  <a:pt x="832" y="1182"/>
                  <a:pt x="845" y="1194"/>
                  <a:pt x="860" y="1194"/>
                </a:cubicBezTo>
                <a:cubicBezTo>
                  <a:pt x="1051" y="1194"/>
                  <a:pt x="1051" y="1194"/>
                  <a:pt x="1051" y="1194"/>
                </a:cubicBezTo>
                <a:cubicBezTo>
                  <a:pt x="1101" y="1194"/>
                  <a:pt x="1141" y="1234"/>
                  <a:pt x="1141" y="1283"/>
                </a:cubicBezTo>
                <a:cubicBezTo>
                  <a:pt x="1141" y="1591"/>
                  <a:pt x="1141" y="1591"/>
                  <a:pt x="1141" y="1591"/>
                </a:cubicBezTo>
                <a:cubicBezTo>
                  <a:pt x="1141" y="1640"/>
                  <a:pt x="1101" y="1680"/>
                  <a:pt x="1051" y="1680"/>
                </a:cubicBezTo>
                <a:close/>
                <a:moveTo>
                  <a:pt x="1109" y="864"/>
                </a:moveTo>
                <a:cubicBezTo>
                  <a:pt x="1107" y="864"/>
                  <a:pt x="1104" y="863"/>
                  <a:pt x="1102" y="862"/>
                </a:cubicBezTo>
                <a:cubicBezTo>
                  <a:pt x="1095" y="858"/>
                  <a:pt x="1093" y="849"/>
                  <a:pt x="1097" y="842"/>
                </a:cubicBezTo>
                <a:cubicBezTo>
                  <a:pt x="1106" y="828"/>
                  <a:pt x="1115" y="814"/>
                  <a:pt x="1122" y="799"/>
                </a:cubicBezTo>
                <a:cubicBezTo>
                  <a:pt x="1125" y="792"/>
                  <a:pt x="1134" y="789"/>
                  <a:pt x="1140" y="793"/>
                </a:cubicBezTo>
                <a:cubicBezTo>
                  <a:pt x="1147" y="796"/>
                  <a:pt x="1150" y="804"/>
                  <a:pt x="1147" y="811"/>
                </a:cubicBezTo>
                <a:cubicBezTo>
                  <a:pt x="1139" y="827"/>
                  <a:pt x="1130" y="843"/>
                  <a:pt x="1121" y="857"/>
                </a:cubicBezTo>
                <a:cubicBezTo>
                  <a:pt x="1118" y="862"/>
                  <a:pt x="1114" y="864"/>
                  <a:pt x="1109" y="864"/>
                </a:cubicBezTo>
                <a:close/>
                <a:moveTo>
                  <a:pt x="1160" y="754"/>
                </a:moveTo>
                <a:cubicBezTo>
                  <a:pt x="1159" y="754"/>
                  <a:pt x="1157" y="754"/>
                  <a:pt x="1156" y="753"/>
                </a:cubicBezTo>
                <a:cubicBezTo>
                  <a:pt x="1148" y="751"/>
                  <a:pt x="1144" y="743"/>
                  <a:pt x="1146" y="736"/>
                </a:cubicBezTo>
                <a:cubicBezTo>
                  <a:pt x="1153" y="714"/>
                  <a:pt x="1158" y="691"/>
                  <a:pt x="1161" y="668"/>
                </a:cubicBezTo>
                <a:cubicBezTo>
                  <a:pt x="1163" y="647"/>
                  <a:pt x="1175" y="629"/>
                  <a:pt x="1192" y="618"/>
                </a:cubicBezTo>
                <a:cubicBezTo>
                  <a:pt x="1285" y="560"/>
                  <a:pt x="1354" y="495"/>
                  <a:pt x="1397" y="426"/>
                </a:cubicBezTo>
                <a:cubicBezTo>
                  <a:pt x="1458" y="330"/>
                  <a:pt x="1455" y="248"/>
                  <a:pt x="1442" y="197"/>
                </a:cubicBezTo>
                <a:cubicBezTo>
                  <a:pt x="1421" y="118"/>
                  <a:pt x="1362" y="55"/>
                  <a:pt x="1287" y="35"/>
                </a:cubicBezTo>
                <a:cubicBezTo>
                  <a:pt x="1270" y="30"/>
                  <a:pt x="1252" y="28"/>
                  <a:pt x="1235" y="28"/>
                </a:cubicBezTo>
                <a:cubicBezTo>
                  <a:pt x="1227" y="28"/>
                  <a:pt x="1221" y="22"/>
                  <a:pt x="1221" y="14"/>
                </a:cubicBezTo>
                <a:cubicBezTo>
                  <a:pt x="1221" y="6"/>
                  <a:pt x="1227" y="0"/>
                  <a:pt x="1235" y="0"/>
                </a:cubicBezTo>
                <a:cubicBezTo>
                  <a:pt x="1255" y="0"/>
                  <a:pt x="1275" y="3"/>
                  <a:pt x="1294" y="8"/>
                </a:cubicBezTo>
                <a:cubicBezTo>
                  <a:pt x="1379" y="31"/>
                  <a:pt x="1446" y="101"/>
                  <a:pt x="1469" y="190"/>
                </a:cubicBezTo>
                <a:cubicBezTo>
                  <a:pt x="1483" y="247"/>
                  <a:pt x="1487" y="336"/>
                  <a:pt x="1421" y="441"/>
                </a:cubicBezTo>
                <a:cubicBezTo>
                  <a:pt x="1375" y="514"/>
                  <a:pt x="1303" y="581"/>
                  <a:pt x="1207" y="642"/>
                </a:cubicBezTo>
                <a:cubicBezTo>
                  <a:pt x="1197" y="649"/>
                  <a:pt x="1190" y="659"/>
                  <a:pt x="1188" y="671"/>
                </a:cubicBezTo>
                <a:cubicBezTo>
                  <a:pt x="1185" y="696"/>
                  <a:pt x="1180" y="720"/>
                  <a:pt x="1173" y="744"/>
                </a:cubicBezTo>
                <a:cubicBezTo>
                  <a:pt x="1171" y="750"/>
                  <a:pt x="1166" y="754"/>
                  <a:pt x="1160" y="754"/>
                </a:cubicBezTo>
                <a:close/>
                <a:moveTo>
                  <a:pt x="285" y="450"/>
                </a:moveTo>
                <a:cubicBezTo>
                  <a:pt x="276" y="450"/>
                  <a:pt x="267" y="446"/>
                  <a:pt x="259" y="439"/>
                </a:cubicBezTo>
                <a:cubicBezTo>
                  <a:pt x="182" y="368"/>
                  <a:pt x="147" y="291"/>
                  <a:pt x="163" y="227"/>
                </a:cubicBezTo>
                <a:cubicBezTo>
                  <a:pt x="163" y="227"/>
                  <a:pt x="163" y="227"/>
                  <a:pt x="163" y="227"/>
                </a:cubicBezTo>
                <a:cubicBezTo>
                  <a:pt x="176" y="177"/>
                  <a:pt x="218" y="150"/>
                  <a:pt x="252" y="150"/>
                </a:cubicBezTo>
                <a:cubicBezTo>
                  <a:pt x="323" y="150"/>
                  <a:pt x="323" y="150"/>
                  <a:pt x="323" y="150"/>
                </a:cubicBezTo>
                <a:cubicBezTo>
                  <a:pt x="323" y="412"/>
                  <a:pt x="323" y="412"/>
                  <a:pt x="323" y="412"/>
                </a:cubicBezTo>
                <a:cubicBezTo>
                  <a:pt x="323" y="427"/>
                  <a:pt x="315" y="440"/>
                  <a:pt x="301" y="446"/>
                </a:cubicBezTo>
                <a:cubicBezTo>
                  <a:pt x="296" y="449"/>
                  <a:pt x="290" y="450"/>
                  <a:pt x="285" y="450"/>
                </a:cubicBezTo>
                <a:close/>
                <a:moveTo>
                  <a:pt x="191" y="234"/>
                </a:moveTo>
                <a:cubicBezTo>
                  <a:pt x="177" y="287"/>
                  <a:pt x="209" y="355"/>
                  <a:pt x="278" y="419"/>
                </a:cubicBezTo>
                <a:cubicBezTo>
                  <a:pt x="283" y="423"/>
                  <a:pt x="288" y="421"/>
                  <a:pt x="289" y="421"/>
                </a:cubicBezTo>
                <a:cubicBezTo>
                  <a:pt x="291" y="420"/>
                  <a:pt x="295" y="417"/>
                  <a:pt x="295" y="412"/>
                </a:cubicBezTo>
                <a:cubicBezTo>
                  <a:pt x="295" y="178"/>
                  <a:pt x="295" y="178"/>
                  <a:pt x="295" y="178"/>
                </a:cubicBezTo>
                <a:cubicBezTo>
                  <a:pt x="252" y="178"/>
                  <a:pt x="252" y="178"/>
                  <a:pt x="252" y="178"/>
                </a:cubicBezTo>
                <a:cubicBezTo>
                  <a:pt x="229" y="178"/>
                  <a:pt x="200" y="197"/>
                  <a:pt x="191" y="234"/>
                </a:cubicBezTo>
                <a:close/>
                <a:moveTo>
                  <a:pt x="1202" y="449"/>
                </a:moveTo>
                <a:cubicBezTo>
                  <a:pt x="1197" y="449"/>
                  <a:pt x="1192" y="448"/>
                  <a:pt x="1187" y="446"/>
                </a:cubicBezTo>
                <a:cubicBezTo>
                  <a:pt x="1173" y="440"/>
                  <a:pt x="1164" y="427"/>
                  <a:pt x="1164" y="411"/>
                </a:cubicBezTo>
                <a:cubicBezTo>
                  <a:pt x="1164" y="150"/>
                  <a:pt x="1164" y="150"/>
                  <a:pt x="1164" y="150"/>
                </a:cubicBezTo>
                <a:cubicBezTo>
                  <a:pt x="1235" y="150"/>
                  <a:pt x="1235" y="150"/>
                  <a:pt x="1235" y="150"/>
                </a:cubicBezTo>
                <a:cubicBezTo>
                  <a:pt x="1269" y="150"/>
                  <a:pt x="1310" y="177"/>
                  <a:pt x="1323" y="227"/>
                </a:cubicBezTo>
                <a:cubicBezTo>
                  <a:pt x="1339" y="291"/>
                  <a:pt x="1305" y="368"/>
                  <a:pt x="1228" y="439"/>
                </a:cubicBezTo>
                <a:cubicBezTo>
                  <a:pt x="1221" y="446"/>
                  <a:pt x="1211" y="449"/>
                  <a:pt x="1202" y="449"/>
                </a:cubicBezTo>
                <a:close/>
                <a:moveTo>
                  <a:pt x="1192" y="178"/>
                </a:moveTo>
                <a:cubicBezTo>
                  <a:pt x="1192" y="411"/>
                  <a:pt x="1192" y="411"/>
                  <a:pt x="1192" y="411"/>
                </a:cubicBezTo>
                <a:cubicBezTo>
                  <a:pt x="1192" y="417"/>
                  <a:pt x="1196" y="420"/>
                  <a:pt x="1198" y="420"/>
                </a:cubicBezTo>
                <a:cubicBezTo>
                  <a:pt x="1199" y="421"/>
                  <a:pt x="1204" y="423"/>
                  <a:pt x="1209" y="418"/>
                </a:cubicBezTo>
                <a:cubicBezTo>
                  <a:pt x="1278" y="354"/>
                  <a:pt x="1310" y="287"/>
                  <a:pt x="1296" y="234"/>
                </a:cubicBezTo>
                <a:cubicBezTo>
                  <a:pt x="1287" y="197"/>
                  <a:pt x="1258" y="178"/>
                  <a:pt x="1235" y="178"/>
                </a:cubicBezTo>
                <a:lnTo>
                  <a:pt x="1192" y="178"/>
                </a:lnTo>
                <a:close/>
                <a:moveTo>
                  <a:pt x="1165" y="28"/>
                </a:moveTo>
                <a:cubicBezTo>
                  <a:pt x="1055" y="28"/>
                  <a:pt x="1055" y="28"/>
                  <a:pt x="1055" y="28"/>
                </a:cubicBezTo>
                <a:cubicBezTo>
                  <a:pt x="1047" y="28"/>
                  <a:pt x="1041" y="22"/>
                  <a:pt x="1041" y="14"/>
                </a:cubicBezTo>
                <a:cubicBezTo>
                  <a:pt x="1041" y="6"/>
                  <a:pt x="1047" y="0"/>
                  <a:pt x="1055" y="0"/>
                </a:cubicBezTo>
                <a:cubicBezTo>
                  <a:pt x="1165" y="0"/>
                  <a:pt x="1165" y="0"/>
                  <a:pt x="1165" y="0"/>
                </a:cubicBezTo>
                <a:cubicBezTo>
                  <a:pt x="1173" y="0"/>
                  <a:pt x="1179" y="6"/>
                  <a:pt x="1179" y="14"/>
                </a:cubicBezTo>
                <a:cubicBezTo>
                  <a:pt x="1179" y="22"/>
                  <a:pt x="1173" y="28"/>
                  <a:pt x="1165" y="28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4" name="Rectangle 43"/>
          <p:cNvSpPr/>
          <p:nvPr/>
        </p:nvSpPr>
        <p:spPr>
          <a:xfrm flipH="1">
            <a:off x="7183351" y="978221"/>
            <a:ext cx="3639463" cy="411022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9900" b="1" kern="0" cap="all" dirty="0">
                <a:solidFill>
                  <a:prstClr val="white">
                    <a:alpha val="50000"/>
                  </a:prstClr>
                </a:solidFill>
                <a:latin typeface="Source Sans Pro Black" charset="0"/>
                <a:ea typeface="Source Sans Pro Black" charset="0"/>
                <a:cs typeface="Source Sans Pro Black" charset="0"/>
              </a:rPr>
              <a:t>5</a:t>
            </a:r>
            <a:endParaRPr kumimoji="0" lang="lt-LT" sz="19900" b="1" i="0" u="none" strike="noStrike" kern="0" cap="all" spc="0" normalizeH="0" baseline="0" noProof="0" dirty="0">
              <a:ln>
                <a:noFill/>
              </a:ln>
              <a:solidFill>
                <a:prstClr val="white">
                  <a:alpha val="50000"/>
                </a:prstClr>
              </a:solidFill>
              <a:effectLst/>
              <a:uLnTx/>
              <a:uFillTx/>
              <a:latin typeface="Source Sans Pro Black" charset="0"/>
              <a:ea typeface="Source Sans Pro Black" charset="0"/>
              <a:cs typeface="Source Sans Pro Blac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0606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66" name="Content Placeholder 15">
            <a:extLst>
              <a:ext uri="{FF2B5EF4-FFF2-40B4-BE49-F238E27FC236}">
                <a16:creationId xmlns:a16="http://schemas.microsoft.com/office/drawing/2014/main" id="{17C7D2AA-5855-4FAB-9565-361243A59664}"/>
              </a:ext>
            </a:extLst>
          </p:cNvPr>
          <p:cNvSpPr txBox="1">
            <a:spLocks/>
          </p:cNvSpPr>
          <p:nvPr/>
        </p:nvSpPr>
        <p:spPr>
          <a:xfrm>
            <a:off x="8454452" y="358947"/>
            <a:ext cx="3582650" cy="74248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ko-KR" altLang="en-US" sz="3200" dirty="0">
              <a:solidFill>
                <a:srgbClr val="FFC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3560F69-CA01-4BA0-A461-FB3A55271037}"/>
              </a:ext>
            </a:extLst>
          </p:cNvPr>
          <p:cNvSpPr/>
          <p:nvPr/>
        </p:nvSpPr>
        <p:spPr>
          <a:xfrm flipH="1">
            <a:off x="8995988" y="1064677"/>
            <a:ext cx="2499577" cy="6276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endParaRPr lang="en-US" sz="1100" dirty="0">
              <a:solidFill>
                <a:schemeClr val="accent3"/>
              </a:solidFill>
              <a:latin typeface="Source Sans Pro Light" panose="020B0403030403020204" pitchFamily="34" charset="-18"/>
            </a:endParaRPr>
          </a:p>
        </p:txBody>
      </p:sp>
      <p:pic>
        <p:nvPicPr>
          <p:cNvPr id="6" name="صورة 5">
            <a:hlinkClick r:id="rId6"/>
            <a:extLst>
              <a:ext uri="{FF2B5EF4-FFF2-40B4-BE49-F238E27FC236}">
                <a16:creationId xmlns:a16="http://schemas.microsoft.com/office/drawing/2014/main" id="{62B532B3-3D0E-67E8-1A71-EAFF4993D43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2745" y="496921"/>
            <a:ext cx="7946849" cy="6100729"/>
          </a:xfrm>
          <a:prstGeom prst="rect">
            <a:avLst/>
          </a:prstGeom>
        </p:spPr>
      </p:pic>
      <p:pic>
        <p:nvPicPr>
          <p:cNvPr id="9" name="صورة 8">
            <a:extLst>
              <a:ext uri="{FF2B5EF4-FFF2-40B4-BE49-F238E27FC236}">
                <a16:creationId xmlns:a16="http://schemas.microsoft.com/office/drawing/2014/main" id="{24BEEAF2-FD02-F252-410A-9B85A119B60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178976" y="301207"/>
            <a:ext cx="2133600" cy="64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1026394"/>
      </p:ext>
    </p:extLst>
  </p:cSld>
  <p:clrMapOvr>
    <a:masterClrMapping/>
  </p:clrMapOvr>
  <p:transition spd="slow">
    <p:wip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" t="12192" r="354" b="4034"/>
          <a:stretch/>
        </p:blipFill>
        <p:spPr/>
      </p:pic>
      <p:sp>
        <p:nvSpPr>
          <p:cNvPr id="24" name="Rectangle 23"/>
          <p:cNvSpPr/>
          <p:nvPr/>
        </p:nvSpPr>
        <p:spPr>
          <a:xfrm flipH="1">
            <a:off x="0" y="-8549"/>
            <a:ext cx="4813310" cy="6866549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t-LT" sz="3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25" name="Rectangle 24"/>
          <p:cNvSpPr/>
          <p:nvPr/>
        </p:nvSpPr>
        <p:spPr>
          <a:xfrm flipH="1">
            <a:off x="405234" y="3599185"/>
            <a:ext cx="4243980" cy="67710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44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 Jannat LT" panose="01000000000000000000" pitchFamily="2" charset="-78"/>
                <a:ea typeface="+mn-ea"/>
                <a:cs typeface="A Jannat LT" panose="01000000000000000000" pitchFamily="2" charset="-78"/>
              </a:rPr>
              <a:t>اثراء  </a:t>
            </a:r>
            <a:endParaRPr kumimoji="0" lang="ko-KR" altLang="en-US" sz="44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 Jannat LT" panose="01000000000000000000" pitchFamily="2" charset="-78"/>
              <a:ea typeface="+mn-ea"/>
              <a:cs typeface="A Jannat LT" panose="01000000000000000000" pitchFamily="2" charset="-78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365794" y="326495"/>
            <a:ext cx="5258752" cy="5886943"/>
          </a:xfrm>
          <a:prstGeom prst="rect">
            <a:avLst/>
          </a:prstGeom>
          <a:noFill/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>
            <a:off x="3553143" y="1503563"/>
            <a:ext cx="72778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val 41"/>
          <p:cNvSpPr/>
          <p:nvPr/>
        </p:nvSpPr>
        <p:spPr>
          <a:xfrm>
            <a:off x="7566223" y="1984881"/>
            <a:ext cx="2876544" cy="2876544"/>
          </a:xfrm>
          <a:prstGeom prst="ellipse">
            <a:avLst/>
          </a:prstGeom>
          <a:noFill/>
          <a:ln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3" name="Oval 32"/>
          <p:cNvSpPr/>
          <p:nvPr/>
        </p:nvSpPr>
        <p:spPr>
          <a:xfrm>
            <a:off x="7521610" y="1940268"/>
            <a:ext cx="2965768" cy="2965768"/>
          </a:xfrm>
          <a:prstGeom prst="ellipse">
            <a:avLst/>
          </a:prstGeom>
          <a:noFill/>
          <a:ln w="317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7396887" y="2379990"/>
            <a:ext cx="666045" cy="66604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4" name="Oval 33"/>
          <p:cNvSpPr/>
          <p:nvPr/>
        </p:nvSpPr>
        <p:spPr>
          <a:xfrm>
            <a:off x="7339912" y="3203019"/>
            <a:ext cx="384884" cy="38488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5" name="Oval 34"/>
          <p:cNvSpPr/>
          <p:nvPr/>
        </p:nvSpPr>
        <p:spPr>
          <a:xfrm>
            <a:off x="7944038" y="2116156"/>
            <a:ext cx="297701" cy="2977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6" name="Oval 35"/>
          <p:cNvSpPr/>
          <p:nvPr/>
        </p:nvSpPr>
        <p:spPr>
          <a:xfrm>
            <a:off x="9781393" y="4242129"/>
            <a:ext cx="474373" cy="47437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7" name="Oval 36"/>
          <p:cNvSpPr/>
          <p:nvPr/>
        </p:nvSpPr>
        <p:spPr>
          <a:xfrm>
            <a:off x="10169141" y="4011741"/>
            <a:ext cx="278538" cy="27853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8" name="Oval 37"/>
          <p:cNvSpPr/>
          <p:nvPr/>
        </p:nvSpPr>
        <p:spPr>
          <a:xfrm>
            <a:off x="9632542" y="2064962"/>
            <a:ext cx="297701" cy="2977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9" name="Oval 38"/>
          <p:cNvSpPr/>
          <p:nvPr/>
        </p:nvSpPr>
        <p:spPr>
          <a:xfrm>
            <a:off x="9958065" y="2297680"/>
            <a:ext cx="164620" cy="16462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0" name="Oval 39"/>
          <p:cNvSpPr/>
          <p:nvPr/>
        </p:nvSpPr>
        <p:spPr>
          <a:xfrm>
            <a:off x="8159429" y="4589036"/>
            <a:ext cx="164620" cy="16462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1" name="Oval 40"/>
          <p:cNvSpPr/>
          <p:nvPr/>
        </p:nvSpPr>
        <p:spPr>
          <a:xfrm>
            <a:off x="8357684" y="4512788"/>
            <a:ext cx="658099" cy="6580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8" name="Freeform 13"/>
          <p:cNvSpPr>
            <a:spLocks noEditPoints="1"/>
          </p:cNvSpPr>
          <p:nvPr/>
        </p:nvSpPr>
        <p:spPr bwMode="auto">
          <a:xfrm>
            <a:off x="3988167" y="5269688"/>
            <a:ext cx="687257" cy="776288"/>
          </a:xfrm>
          <a:custGeom>
            <a:avLst/>
            <a:gdLst>
              <a:gd name="T0" fmla="*/ 435 w 1487"/>
              <a:gd name="T1" fmla="*/ 1680 h 1680"/>
              <a:gd name="T2" fmla="*/ 346 w 1487"/>
              <a:gd name="T3" fmla="*/ 1283 h 1680"/>
              <a:gd name="T4" fmla="*/ 627 w 1487"/>
              <a:gd name="T5" fmla="*/ 1194 h 1680"/>
              <a:gd name="T6" fmla="*/ 654 w 1487"/>
              <a:gd name="T7" fmla="*/ 1074 h 1680"/>
              <a:gd name="T8" fmla="*/ 299 w 1487"/>
              <a:gd name="T9" fmla="*/ 672 h 1680"/>
              <a:gd name="T10" fmla="*/ 66 w 1487"/>
              <a:gd name="T11" fmla="*/ 441 h 1680"/>
              <a:gd name="T12" fmla="*/ 252 w 1487"/>
              <a:gd name="T13" fmla="*/ 0 h 1680"/>
              <a:gd name="T14" fmla="*/ 979 w 1487"/>
              <a:gd name="T15" fmla="*/ 14 h 1680"/>
              <a:gd name="T16" fmla="*/ 252 w 1487"/>
              <a:gd name="T17" fmla="*/ 28 h 1680"/>
              <a:gd name="T18" fmla="*/ 90 w 1487"/>
              <a:gd name="T19" fmla="*/ 426 h 1680"/>
              <a:gd name="T20" fmla="*/ 327 w 1487"/>
              <a:gd name="T21" fmla="*/ 668 h 1680"/>
              <a:gd name="T22" fmla="*/ 682 w 1487"/>
              <a:gd name="T23" fmla="*/ 1074 h 1680"/>
              <a:gd name="T24" fmla="*/ 627 w 1487"/>
              <a:gd name="T25" fmla="*/ 1222 h 1680"/>
              <a:gd name="T26" fmla="*/ 374 w 1487"/>
              <a:gd name="T27" fmla="*/ 1283 h 1680"/>
              <a:gd name="T28" fmla="*/ 435 w 1487"/>
              <a:gd name="T29" fmla="*/ 1652 h 1680"/>
              <a:gd name="T30" fmla="*/ 1113 w 1487"/>
              <a:gd name="T31" fmla="*/ 1591 h 1680"/>
              <a:gd name="T32" fmla="*/ 1051 w 1487"/>
              <a:gd name="T33" fmla="*/ 1222 h 1680"/>
              <a:gd name="T34" fmla="*/ 804 w 1487"/>
              <a:gd name="T35" fmla="*/ 1167 h 1680"/>
              <a:gd name="T36" fmla="*/ 845 w 1487"/>
              <a:gd name="T37" fmla="*/ 1024 h 1680"/>
              <a:gd name="T38" fmla="*/ 1005 w 1487"/>
              <a:gd name="T39" fmla="*/ 963 h 1680"/>
              <a:gd name="T40" fmla="*/ 851 w 1487"/>
              <a:gd name="T41" fmla="*/ 1051 h 1680"/>
              <a:gd name="T42" fmla="*/ 832 w 1487"/>
              <a:gd name="T43" fmla="*/ 1167 h 1680"/>
              <a:gd name="T44" fmla="*/ 1051 w 1487"/>
              <a:gd name="T45" fmla="*/ 1194 h 1680"/>
              <a:gd name="T46" fmla="*/ 1141 w 1487"/>
              <a:gd name="T47" fmla="*/ 1591 h 1680"/>
              <a:gd name="T48" fmla="*/ 1109 w 1487"/>
              <a:gd name="T49" fmla="*/ 864 h 1680"/>
              <a:gd name="T50" fmla="*/ 1097 w 1487"/>
              <a:gd name="T51" fmla="*/ 842 h 1680"/>
              <a:gd name="T52" fmla="*/ 1140 w 1487"/>
              <a:gd name="T53" fmla="*/ 793 h 1680"/>
              <a:gd name="T54" fmla="*/ 1121 w 1487"/>
              <a:gd name="T55" fmla="*/ 857 h 1680"/>
              <a:gd name="T56" fmla="*/ 1160 w 1487"/>
              <a:gd name="T57" fmla="*/ 754 h 1680"/>
              <a:gd name="T58" fmla="*/ 1146 w 1487"/>
              <a:gd name="T59" fmla="*/ 736 h 1680"/>
              <a:gd name="T60" fmla="*/ 1192 w 1487"/>
              <a:gd name="T61" fmla="*/ 618 h 1680"/>
              <a:gd name="T62" fmla="*/ 1442 w 1487"/>
              <a:gd name="T63" fmla="*/ 197 h 1680"/>
              <a:gd name="T64" fmla="*/ 1235 w 1487"/>
              <a:gd name="T65" fmla="*/ 28 h 1680"/>
              <a:gd name="T66" fmla="*/ 1235 w 1487"/>
              <a:gd name="T67" fmla="*/ 0 h 1680"/>
              <a:gd name="T68" fmla="*/ 1469 w 1487"/>
              <a:gd name="T69" fmla="*/ 190 h 1680"/>
              <a:gd name="T70" fmla="*/ 1207 w 1487"/>
              <a:gd name="T71" fmla="*/ 642 h 1680"/>
              <a:gd name="T72" fmla="*/ 1173 w 1487"/>
              <a:gd name="T73" fmla="*/ 744 h 1680"/>
              <a:gd name="T74" fmla="*/ 285 w 1487"/>
              <a:gd name="T75" fmla="*/ 450 h 1680"/>
              <a:gd name="T76" fmla="*/ 163 w 1487"/>
              <a:gd name="T77" fmla="*/ 227 h 1680"/>
              <a:gd name="T78" fmla="*/ 252 w 1487"/>
              <a:gd name="T79" fmla="*/ 150 h 1680"/>
              <a:gd name="T80" fmla="*/ 323 w 1487"/>
              <a:gd name="T81" fmla="*/ 412 h 1680"/>
              <a:gd name="T82" fmla="*/ 285 w 1487"/>
              <a:gd name="T83" fmla="*/ 450 h 1680"/>
              <a:gd name="T84" fmla="*/ 278 w 1487"/>
              <a:gd name="T85" fmla="*/ 419 h 1680"/>
              <a:gd name="T86" fmla="*/ 295 w 1487"/>
              <a:gd name="T87" fmla="*/ 412 h 1680"/>
              <a:gd name="T88" fmla="*/ 252 w 1487"/>
              <a:gd name="T89" fmla="*/ 178 h 1680"/>
              <a:gd name="T90" fmla="*/ 1202 w 1487"/>
              <a:gd name="T91" fmla="*/ 449 h 1680"/>
              <a:gd name="T92" fmla="*/ 1164 w 1487"/>
              <a:gd name="T93" fmla="*/ 411 h 1680"/>
              <a:gd name="T94" fmla="*/ 1235 w 1487"/>
              <a:gd name="T95" fmla="*/ 150 h 1680"/>
              <a:gd name="T96" fmla="*/ 1228 w 1487"/>
              <a:gd name="T97" fmla="*/ 439 h 1680"/>
              <a:gd name="T98" fmla="*/ 1192 w 1487"/>
              <a:gd name="T99" fmla="*/ 178 h 1680"/>
              <a:gd name="T100" fmla="*/ 1198 w 1487"/>
              <a:gd name="T101" fmla="*/ 420 h 1680"/>
              <a:gd name="T102" fmla="*/ 1296 w 1487"/>
              <a:gd name="T103" fmla="*/ 234 h 1680"/>
              <a:gd name="T104" fmla="*/ 1192 w 1487"/>
              <a:gd name="T105" fmla="*/ 178 h 1680"/>
              <a:gd name="T106" fmla="*/ 1055 w 1487"/>
              <a:gd name="T107" fmla="*/ 28 h 1680"/>
              <a:gd name="T108" fmla="*/ 1055 w 1487"/>
              <a:gd name="T109" fmla="*/ 0 h 1680"/>
              <a:gd name="T110" fmla="*/ 1179 w 1487"/>
              <a:gd name="T111" fmla="*/ 14 h 1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487" h="1680">
                <a:moveTo>
                  <a:pt x="1051" y="1680"/>
                </a:moveTo>
                <a:cubicBezTo>
                  <a:pt x="435" y="1680"/>
                  <a:pt x="435" y="1680"/>
                  <a:pt x="435" y="1680"/>
                </a:cubicBezTo>
                <a:cubicBezTo>
                  <a:pt x="386" y="1680"/>
                  <a:pt x="346" y="1640"/>
                  <a:pt x="346" y="1591"/>
                </a:cubicBezTo>
                <a:cubicBezTo>
                  <a:pt x="346" y="1283"/>
                  <a:pt x="346" y="1283"/>
                  <a:pt x="346" y="1283"/>
                </a:cubicBezTo>
                <a:cubicBezTo>
                  <a:pt x="346" y="1234"/>
                  <a:pt x="386" y="1194"/>
                  <a:pt x="435" y="1194"/>
                </a:cubicBezTo>
                <a:cubicBezTo>
                  <a:pt x="627" y="1194"/>
                  <a:pt x="627" y="1194"/>
                  <a:pt x="627" y="1194"/>
                </a:cubicBezTo>
                <a:cubicBezTo>
                  <a:pt x="642" y="1194"/>
                  <a:pt x="654" y="1182"/>
                  <a:pt x="654" y="1167"/>
                </a:cubicBezTo>
                <a:cubicBezTo>
                  <a:pt x="654" y="1074"/>
                  <a:pt x="654" y="1074"/>
                  <a:pt x="654" y="1074"/>
                </a:cubicBezTo>
                <a:cubicBezTo>
                  <a:pt x="654" y="1063"/>
                  <a:pt x="647" y="1053"/>
                  <a:pt x="635" y="1051"/>
                </a:cubicBezTo>
                <a:cubicBezTo>
                  <a:pt x="457" y="1006"/>
                  <a:pt x="322" y="854"/>
                  <a:pt x="299" y="672"/>
                </a:cubicBezTo>
                <a:cubicBezTo>
                  <a:pt x="298" y="660"/>
                  <a:pt x="291" y="649"/>
                  <a:pt x="280" y="643"/>
                </a:cubicBezTo>
                <a:cubicBezTo>
                  <a:pt x="184" y="582"/>
                  <a:pt x="111" y="514"/>
                  <a:pt x="66" y="441"/>
                </a:cubicBezTo>
                <a:cubicBezTo>
                  <a:pt x="0" y="336"/>
                  <a:pt x="4" y="247"/>
                  <a:pt x="18" y="190"/>
                </a:cubicBezTo>
                <a:cubicBezTo>
                  <a:pt x="47" y="78"/>
                  <a:pt x="143" y="0"/>
                  <a:pt x="252" y="0"/>
                </a:cubicBezTo>
                <a:cubicBezTo>
                  <a:pt x="965" y="0"/>
                  <a:pt x="965" y="0"/>
                  <a:pt x="965" y="0"/>
                </a:cubicBezTo>
                <a:cubicBezTo>
                  <a:pt x="973" y="0"/>
                  <a:pt x="979" y="6"/>
                  <a:pt x="979" y="14"/>
                </a:cubicBezTo>
                <a:cubicBezTo>
                  <a:pt x="979" y="22"/>
                  <a:pt x="973" y="28"/>
                  <a:pt x="965" y="28"/>
                </a:cubicBezTo>
                <a:cubicBezTo>
                  <a:pt x="252" y="28"/>
                  <a:pt x="252" y="28"/>
                  <a:pt x="252" y="28"/>
                </a:cubicBezTo>
                <a:cubicBezTo>
                  <a:pt x="156" y="28"/>
                  <a:pt x="71" y="98"/>
                  <a:pt x="45" y="197"/>
                </a:cubicBezTo>
                <a:cubicBezTo>
                  <a:pt x="32" y="248"/>
                  <a:pt x="29" y="330"/>
                  <a:pt x="90" y="426"/>
                </a:cubicBezTo>
                <a:cubicBezTo>
                  <a:pt x="133" y="495"/>
                  <a:pt x="202" y="560"/>
                  <a:pt x="295" y="619"/>
                </a:cubicBezTo>
                <a:cubicBezTo>
                  <a:pt x="313" y="630"/>
                  <a:pt x="324" y="648"/>
                  <a:pt x="327" y="668"/>
                </a:cubicBezTo>
                <a:cubicBezTo>
                  <a:pt x="348" y="839"/>
                  <a:pt x="475" y="982"/>
                  <a:pt x="642" y="1023"/>
                </a:cubicBezTo>
                <a:cubicBezTo>
                  <a:pt x="666" y="1029"/>
                  <a:pt x="682" y="1050"/>
                  <a:pt x="682" y="1074"/>
                </a:cubicBezTo>
                <a:cubicBezTo>
                  <a:pt x="682" y="1167"/>
                  <a:pt x="682" y="1167"/>
                  <a:pt x="682" y="1167"/>
                </a:cubicBezTo>
                <a:cubicBezTo>
                  <a:pt x="682" y="1197"/>
                  <a:pt x="658" y="1222"/>
                  <a:pt x="627" y="1222"/>
                </a:cubicBezTo>
                <a:cubicBezTo>
                  <a:pt x="435" y="1222"/>
                  <a:pt x="435" y="1222"/>
                  <a:pt x="435" y="1222"/>
                </a:cubicBezTo>
                <a:cubicBezTo>
                  <a:pt x="402" y="1222"/>
                  <a:pt x="374" y="1249"/>
                  <a:pt x="374" y="1283"/>
                </a:cubicBezTo>
                <a:cubicBezTo>
                  <a:pt x="374" y="1591"/>
                  <a:pt x="374" y="1591"/>
                  <a:pt x="374" y="1591"/>
                </a:cubicBezTo>
                <a:cubicBezTo>
                  <a:pt x="374" y="1625"/>
                  <a:pt x="402" y="1652"/>
                  <a:pt x="435" y="1652"/>
                </a:cubicBezTo>
                <a:cubicBezTo>
                  <a:pt x="1051" y="1652"/>
                  <a:pt x="1051" y="1652"/>
                  <a:pt x="1051" y="1652"/>
                </a:cubicBezTo>
                <a:cubicBezTo>
                  <a:pt x="1085" y="1652"/>
                  <a:pt x="1113" y="1625"/>
                  <a:pt x="1113" y="1591"/>
                </a:cubicBezTo>
                <a:cubicBezTo>
                  <a:pt x="1113" y="1283"/>
                  <a:pt x="1113" y="1283"/>
                  <a:pt x="1113" y="1283"/>
                </a:cubicBezTo>
                <a:cubicBezTo>
                  <a:pt x="1113" y="1249"/>
                  <a:pt x="1085" y="1222"/>
                  <a:pt x="1051" y="1222"/>
                </a:cubicBezTo>
                <a:cubicBezTo>
                  <a:pt x="860" y="1222"/>
                  <a:pt x="860" y="1222"/>
                  <a:pt x="860" y="1222"/>
                </a:cubicBezTo>
                <a:cubicBezTo>
                  <a:pt x="829" y="1222"/>
                  <a:pt x="804" y="1197"/>
                  <a:pt x="804" y="1167"/>
                </a:cubicBezTo>
                <a:cubicBezTo>
                  <a:pt x="804" y="1075"/>
                  <a:pt x="804" y="1075"/>
                  <a:pt x="804" y="1075"/>
                </a:cubicBezTo>
                <a:cubicBezTo>
                  <a:pt x="804" y="1050"/>
                  <a:pt x="821" y="1029"/>
                  <a:pt x="845" y="1024"/>
                </a:cubicBezTo>
                <a:cubicBezTo>
                  <a:pt x="895" y="1011"/>
                  <a:pt x="942" y="990"/>
                  <a:pt x="985" y="960"/>
                </a:cubicBezTo>
                <a:cubicBezTo>
                  <a:pt x="991" y="955"/>
                  <a:pt x="1000" y="957"/>
                  <a:pt x="1005" y="963"/>
                </a:cubicBezTo>
                <a:cubicBezTo>
                  <a:pt x="1009" y="969"/>
                  <a:pt x="1007" y="978"/>
                  <a:pt x="1001" y="982"/>
                </a:cubicBezTo>
                <a:cubicBezTo>
                  <a:pt x="956" y="1014"/>
                  <a:pt x="905" y="1037"/>
                  <a:pt x="851" y="1051"/>
                </a:cubicBezTo>
                <a:cubicBezTo>
                  <a:pt x="840" y="1054"/>
                  <a:pt x="832" y="1063"/>
                  <a:pt x="832" y="1075"/>
                </a:cubicBezTo>
                <a:cubicBezTo>
                  <a:pt x="832" y="1167"/>
                  <a:pt x="832" y="1167"/>
                  <a:pt x="832" y="1167"/>
                </a:cubicBezTo>
                <a:cubicBezTo>
                  <a:pt x="832" y="1182"/>
                  <a:pt x="845" y="1194"/>
                  <a:pt x="860" y="1194"/>
                </a:cubicBezTo>
                <a:cubicBezTo>
                  <a:pt x="1051" y="1194"/>
                  <a:pt x="1051" y="1194"/>
                  <a:pt x="1051" y="1194"/>
                </a:cubicBezTo>
                <a:cubicBezTo>
                  <a:pt x="1101" y="1194"/>
                  <a:pt x="1141" y="1234"/>
                  <a:pt x="1141" y="1283"/>
                </a:cubicBezTo>
                <a:cubicBezTo>
                  <a:pt x="1141" y="1591"/>
                  <a:pt x="1141" y="1591"/>
                  <a:pt x="1141" y="1591"/>
                </a:cubicBezTo>
                <a:cubicBezTo>
                  <a:pt x="1141" y="1640"/>
                  <a:pt x="1101" y="1680"/>
                  <a:pt x="1051" y="1680"/>
                </a:cubicBezTo>
                <a:close/>
                <a:moveTo>
                  <a:pt x="1109" y="864"/>
                </a:moveTo>
                <a:cubicBezTo>
                  <a:pt x="1107" y="864"/>
                  <a:pt x="1104" y="863"/>
                  <a:pt x="1102" y="862"/>
                </a:cubicBezTo>
                <a:cubicBezTo>
                  <a:pt x="1095" y="858"/>
                  <a:pt x="1093" y="849"/>
                  <a:pt x="1097" y="842"/>
                </a:cubicBezTo>
                <a:cubicBezTo>
                  <a:pt x="1106" y="828"/>
                  <a:pt x="1115" y="814"/>
                  <a:pt x="1122" y="799"/>
                </a:cubicBezTo>
                <a:cubicBezTo>
                  <a:pt x="1125" y="792"/>
                  <a:pt x="1134" y="789"/>
                  <a:pt x="1140" y="793"/>
                </a:cubicBezTo>
                <a:cubicBezTo>
                  <a:pt x="1147" y="796"/>
                  <a:pt x="1150" y="804"/>
                  <a:pt x="1147" y="811"/>
                </a:cubicBezTo>
                <a:cubicBezTo>
                  <a:pt x="1139" y="827"/>
                  <a:pt x="1130" y="843"/>
                  <a:pt x="1121" y="857"/>
                </a:cubicBezTo>
                <a:cubicBezTo>
                  <a:pt x="1118" y="862"/>
                  <a:pt x="1114" y="864"/>
                  <a:pt x="1109" y="864"/>
                </a:cubicBezTo>
                <a:close/>
                <a:moveTo>
                  <a:pt x="1160" y="754"/>
                </a:moveTo>
                <a:cubicBezTo>
                  <a:pt x="1159" y="754"/>
                  <a:pt x="1157" y="754"/>
                  <a:pt x="1156" y="753"/>
                </a:cubicBezTo>
                <a:cubicBezTo>
                  <a:pt x="1148" y="751"/>
                  <a:pt x="1144" y="743"/>
                  <a:pt x="1146" y="736"/>
                </a:cubicBezTo>
                <a:cubicBezTo>
                  <a:pt x="1153" y="714"/>
                  <a:pt x="1158" y="691"/>
                  <a:pt x="1161" y="668"/>
                </a:cubicBezTo>
                <a:cubicBezTo>
                  <a:pt x="1163" y="647"/>
                  <a:pt x="1175" y="629"/>
                  <a:pt x="1192" y="618"/>
                </a:cubicBezTo>
                <a:cubicBezTo>
                  <a:pt x="1285" y="560"/>
                  <a:pt x="1354" y="495"/>
                  <a:pt x="1397" y="426"/>
                </a:cubicBezTo>
                <a:cubicBezTo>
                  <a:pt x="1458" y="330"/>
                  <a:pt x="1455" y="248"/>
                  <a:pt x="1442" y="197"/>
                </a:cubicBezTo>
                <a:cubicBezTo>
                  <a:pt x="1421" y="118"/>
                  <a:pt x="1362" y="55"/>
                  <a:pt x="1287" y="35"/>
                </a:cubicBezTo>
                <a:cubicBezTo>
                  <a:pt x="1270" y="30"/>
                  <a:pt x="1252" y="28"/>
                  <a:pt x="1235" y="28"/>
                </a:cubicBezTo>
                <a:cubicBezTo>
                  <a:pt x="1227" y="28"/>
                  <a:pt x="1221" y="22"/>
                  <a:pt x="1221" y="14"/>
                </a:cubicBezTo>
                <a:cubicBezTo>
                  <a:pt x="1221" y="6"/>
                  <a:pt x="1227" y="0"/>
                  <a:pt x="1235" y="0"/>
                </a:cubicBezTo>
                <a:cubicBezTo>
                  <a:pt x="1255" y="0"/>
                  <a:pt x="1275" y="3"/>
                  <a:pt x="1294" y="8"/>
                </a:cubicBezTo>
                <a:cubicBezTo>
                  <a:pt x="1379" y="31"/>
                  <a:pt x="1446" y="101"/>
                  <a:pt x="1469" y="190"/>
                </a:cubicBezTo>
                <a:cubicBezTo>
                  <a:pt x="1483" y="247"/>
                  <a:pt x="1487" y="336"/>
                  <a:pt x="1421" y="441"/>
                </a:cubicBezTo>
                <a:cubicBezTo>
                  <a:pt x="1375" y="514"/>
                  <a:pt x="1303" y="581"/>
                  <a:pt x="1207" y="642"/>
                </a:cubicBezTo>
                <a:cubicBezTo>
                  <a:pt x="1197" y="649"/>
                  <a:pt x="1190" y="659"/>
                  <a:pt x="1188" y="671"/>
                </a:cubicBezTo>
                <a:cubicBezTo>
                  <a:pt x="1185" y="696"/>
                  <a:pt x="1180" y="720"/>
                  <a:pt x="1173" y="744"/>
                </a:cubicBezTo>
                <a:cubicBezTo>
                  <a:pt x="1171" y="750"/>
                  <a:pt x="1166" y="754"/>
                  <a:pt x="1160" y="754"/>
                </a:cubicBezTo>
                <a:close/>
                <a:moveTo>
                  <a:pt x="285" y="450"/>
                </a:moveTo>
                <a:cubicBezTo>
                  <a:pt x="276" y="450"/>
                  <a:pt x="267" y="446"/>
                  <a:pt x="259" y="439"/>
                </a:cubicBezTo>
                <a:cubicBezTo>
                  <a:pt x="182" y="368"/>
                  <a:pt x="147" y="291"/>
                  <a:pt x="163" y="227"/>
                </a:cubicBezTo>
                <a:cubicBezTo>
                  <a:pt x="163" y="227"/>
                  <a:pt x="163" y="227"/>
                  <a:pt x="163" y="227"/>
                </a:cubicBezTo>
                <a:cubicBezTo>
                  <a:pt x="176" y="177"/>
                  <a:pt x="218" y="150"/>
                  <a:pt x="252" y="150"/>
                </a:cubicBezTo>
                <a:cubicBezTo>
                  <a:pt x="323" y="150"/>
                  <a:pt x="323" y="150"/>
                  <a:pt x="323" y="150"/>
                </a:cubicBezTo>
                <a:cubicBezTo>
                  <a:pt x="323" y="412"/>
                  <a:pt x="323" y="412"/>
                  <a:pt x="323" y="412"/>
                </a:cubicBezTo>
                <a:cubicBezTo>
                  <a:pt x="323" y="427"/>
                  <a:pt x="315" y="440"/>
                  <a:pt x="301" y="446"/>
                </a:cubicBezTo>
                <a:cubicBezTo>
                  <a:pt x="296" y="449"/>
                  <a:pt x="290" y="450"/>
                  <a:pt x="285" y="450"/>
                </a:cubicBezTo>
                <a:close/>
                <a:moveTo>
                  <a:pt x="191" y="234"/>
                </a:moveTo>
                <a:cubicBezTo>
                  <a:pt x="177" y="287"/>
                  <a:pt x="209" y="355"/>
                  <a:pt x="278" y="419"/>
                </a:cubicBezTo>
                <a:cubicBezTo>
                  <a:pt x="283" y="423"/>
                  <a:pt x="288" y="421"/>
                  <a:pt x="289" y="421"/>
                </a:cubicBezTo>
                <a:cubicBezTo>
                  <a:pt x="291" y="420"/>
                  <a:pt x="295" y="417"/>
                  <a:pt x="295" y="412"/>
                </a:cubicBezTo>
                <a:cubicBezTo>
                  <a:pt x="295" y="178"/>
                  <a:pt x="295" y="178"/>
                  <a:pt x="295" y="178"/>
                </a:cubicBezTo>
                <a:cubicBezTo>
                  <a:pt x="252" y="178"/>
                  <a:pt x="252" y="178"/>
                  <a:pt x="252" y="178"/>
                </a:cubicBezTo>
                <a:cubicBezTo>
                  <a:pt x="229" y="178"/>
                  <a:pt x="200" y="197"/>
                  <a:pt x="191" y="234"/>
                </a:cubicBezTo>
                <a:close/>
                <a:moveTo>
                  <a:pt x="1202" y="449"/>
                </a:moveTo>
                <a:cubicBezTo>
                  <a:pt x="1197" y="449"/>
                  <a:pt x="1192" y="448"/>
                  <a:pt x="1187" y="446"/>
                </a:cubicBezTo>
                <a:cubicBezTo>
                  <a:pt x="1173" y="440"/>
                  <a:pt x="1164" y="427"/>
                  <a:pt x="1164" y="411"/>
                </a:cubicBezTo>
                <a:cubicBezTo>
                  <a:pt x="1164" y="150"/>
                  <a:pt x="1164" y="150"/>
                  <a:pt x="1164" y="150"/>
                </a:cubicBezTo>
                <a:cubicBezTo>
                  <a:pt x="1235" y="150"/>
                  <a:pt x="1235" y="150"/>
                  <a:pt x="1235" y="150"/>
                </a:cubicBezTo>
                <a:cubicBezTo>
                  <a:pt x="1269" y="150"/>
                  <a:pt x="1310" y="177"/>
                  <a:pt x="1323" y="227"/>
                </a:cubicBezTo>
                <a:cubicBezTo>
                  <a:pt x="1339" y="291"/>
                  <a:pt x="1305" y="368"/>
                  <a:pt x="1228" y="439"/>
                </a:cubicBezTo>
                <a:cubicBezTo>
                  <a:pt x="1221" y="446"/>
                  <a:pt x="1211" y="449"/>
                  <a:pt x="1202" y="449"/>
                </a:cubicBezTo>
                <a:close/>
                <a:moveTo>
                  <a:pt x="1192" y="178"/>
                </a:moveTo>
                <a:cubicBezTo>
                  <a:pt x="1192" y="411"/>
                  <a:pt x="1192" y="411"/>
                  <a:pt x="1192" y="411"/>
                </a:cubicBezTo>
                <a:cubicBezTo>
                  <a:pt x="1192" y="417"/>
                  <a:pt x="1196" y="420"/>
                  <a:pt x="1198" y="420"/>
                </a:cubicBezTo>
                <a:cubicBezTo>
                  <a:pt x="1199" y="421"/>
                  <a:pt x="1204" y="423"/>
                  <a:pt x="1209" y="418"/>
                </a:cubicBezTo>
                <a:cubicBezTo>
                  <a:pt x="1278" y="354"/>
                  <a:pt x="1310" y="287"/>
                  <a:pt x="1296" y="234"/>
                </a:cubicBezTo>
                <a:cubicBezTo>
                  <a:pt x="1287" y="197"/>
                  <a:pt x="1258" y="178"/>
                  <a:pt x="1235" y="178"/>
                </a:cubicBezTo>
                <a:lnTo>
                  <a:pt x="1192" y="178"/>
                </a:lnTo>
                <a:close/>
                <a:moveTo>
                  <a:pt x="1165" y="28"/>
                </a:moveTo>
                <a:cubicBezTo>
                  <a:pt x="1055" y="28"/>
                  <a:pt x="1055" y="28"/>
                  <a:pt x="1055" y="28"/>
                </a:cubicBezTo>
                <a:cubicBezTo>
                  <a:pt x="1047" y="28"/>
                  <a:pt x="1041" y="22"/>
                  <a:pt x="1041" y="14"/>
                </a:cubicBezTo>
                <a:cubicBezTo>
                  <a:pt x="1041" y="6"/>
                  <a:pt x="1047" y="0"/>
                  <a:pt x="1055" y="0"/>
                </a:cubicBezTo>
                <a:cubicBezTo>
                  <a:pt x="1165" y="0"/>
                  <a:pt x="1165" y="0"/>
                  <a:pt x="1165" y="0"/>
                </a:cubicBezTo>
                <a:cubicBezTo>
                  <a:pt x="1173" y="0"/>
                  <a:pt x="1179" y="6"/>
                  <a:pt x="1179" y="14"/>
                </a:cubicBezTo>
                <a:cubicBezTo>
                  <a:pt x="1179" y="22"/>
                  <a:pt x="1173" y="28"/>
                  <a:pt x="1165" y="28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4" name="Rectangle 43"/>
          <p:cNvSpPr/>
          <p:nvPr/>
        </p:nvSpPr>
        <p:spPr>
          <a:xfrm flipH="1">
            <a:off x="7183351" y="978221"/>
            <a:ext cx="3639463" cy="411022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9900" b="1" kern="0" cap="all" dirty="0">
                <a:solidFill>
                  <a:prstClr val="white">
                    <a:alpha val="50000"/>
                  </a:prstClr>
                </a:solidFill>
                <a:latin typeface="Source Sans Pro Black" charset="0"/>
                <a:ea typeface="Source Sans Pro Black" charset="0"/>
                <a:cs typeface="Source Sans Pro Black" charset="0"/>
              </a:rPr>
              <a:t>6</a:t>
            </a:r>
            <a:endParaRPr kumimoji="0" lang="lt-LT" sz="19900" b="1" i="0" u="none" strike="noStrike" kern="0" cap="all" spc="0" normalizeH="0" baseline="0" noProof="0" dirty="0">
              <a:ln>
                <a:noFill/>
              </a:ln>
              <a:solidFill>
                <a:prstClr val="white">
                  <a:alpha val="50000"/>
                </a:prstClr>
              </a:solidFill>
              <a:effectLst/>
              <a:uLnTx/>
              <a:uFillTx/>
              <a:latin typeface="Source Sans Pro Black" charset="0"/>
              <a:ea typeface="Source Sans Pro Black" charset="0"/>
              <a:cs typeface="Source Sans Pro Blac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8838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Placeholder 2"/>
          <p:cNvPicPr>
            <a:picLocks noGrp="1" noChangeAspect="1"/>
          </p:cNvPicPr>
          <p:nvPr>
            <p:ph type="pic" sz="quarter" idx="10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13" b="7813"/>
          <a:stretch>
            <a:fillRect/>
          </a:stretch>
        </p:blipFill>
        <p:spPr>
          <a:xfrm>
            <a:off x="0" y="-8549"/>
            <a:ext cx="12192000" cy="6866548"/>
          </a:xfrm>
        </p:spPr>
      </p:pic>
      <p:sp>
        <p:nvSpPr>
          <p:cNvPr id="2" name="Rectangle 1"/>
          <p:cNvSpPr/>
          <p:nvPr/>
        </p:nvSpPr>
        <p:spPr>
          <a:xfrm>
            <a:off x="0" y="-8548"/>
            <a:ext cx="12192000" cy="6866548"/>
          </a:xfrm>
          <a:prstGeom prst="rect">
            <a:avLst/>
          </a:prstGeom>
          <a:solidFill>
            <a:srgbClr val="262626">
              <a:alpha val="20000"/>
            </a:srgbClr>
          </a:solidFill>
          <a:ln w="6350">
            <a:noFill/>
          </a:ln>
        </p:spPr>
        <p:style>
          <a:lnRef idx="1">
            <a:schemeClr val="accen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121920" tIns="60960" rIns="121920" bIns="6096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63" name="Freeform 62"/>
          <p:cNvSpPr/>
          <p:nvPr/>
        </p:nvSpPr>
        <p:spPr>
          <a:xfrm rot="10800000">
            <a:off x="762956" y="2429579"/>
            <a:ext cx="3264174" cy="647892"/>
          </a:xfrm>
          <a:custGeom>
            <a:avLst/>
            <a:gdLst>
              <a:gd name="connsiteX0" fmla="*/ 2605737 w 2605737"/>
              <a:gd name="connsiteY0" fmla="*/ 1071116 h 1071116"/>
              <a:gd name="connsiteX1" fmla="*/ 0 w 2605737"/>
              <a:gd name="connsiteY1" fmla="*/ 1071116 h 1071116"/>
              <a:gd name="connsiteX2" fmla="*/ 0 w 2605737"/>
              <a:gd name="connsiteY2" fmla="*/ 144270 h 1071116"/>
              <a:gd name="connsiteX3" fmla="*/ 1181901 w 2605737"/>
              <a:gd name="connsiteY3" fmla="*/ 144270 h 1071116"/>
              <a:gd name="connsiteX4" fmla="*/ 1302869 w 2605737"/>
              <a:gd name="connsiteY4" fmla="*/ 0 h 1071116"/>
              <a:gd name="connsiteX5" fmla="*/ 1423837 w 2605737"/>
              <a:gd name="connsiteY5" fmla="*/ 144270 h 1071116"/>
              <a:gd name="connsiteX6" fmla="*/ 2605737 w 2605737"/>
              <a:gd name="connsiteY6" fmla="*/ 144270 h 1071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05737" h="1071116">
                <a:moveTo>
                  <a:pt x="2605737" y="1071116"/>
                </a:moveTo>
                <a:lnTo>
                  <a:pt x="0" y="1071116"/>
                </a:lnTo>
                <a:lnTo>
                  <a:pt x="0" y="144270"/>
                </a:lnTo>
                <a:lnTo>
                  <a:pt x="1181901" y="144270"/>
                </a:lnTo>
                <a:lnTo>
                  <a:pt x="1302869" y="0"/>
                </a:lnTo>
                <a:lnTo>
                  <a:pt x="1423837" y="144270"/>
                </a:lnTo>
                <a:lnTo>
                  <a:pt x="2605737" y="14427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65" name="Freeform 64"/>
          <p:cNvSpPr/>
          <p:nvPr/>
        </p:nvSpPr>
        <p:spPr>
          <a:xfrm rot="10800000">
            <a:off x="4688342" y="2454461"/>
            <a:ext cx="3261026" cy="645761"/>
          </a:xfrm>
          <a:custGeom>
            <a:avLst/>
            <a:gdLst>
              <a:gd name="connsiteX0" fmla="*/ 2605737 w 2605737"/>
              <a:gd name="connsiteY0" fmla="*/ 1071116 h 1071116"/>
              <a:gd name="connsiteX1" fmla="*/ 0 w 2605737"/>
              <a:gd name="connsiteY1" fmla="*/ 1071116 h 1071116"/>
              <a:gd name="connsiteX2" fmla="*/ 0 w 2605737"/>
              <a:gd name="connsiteY2" fmla="*/ 144270 h 1071116"/>
              <a:gd name="connsiteX3" fmla="*/ 1181901 w 2605737"/>
              <a:gd name="connsiteY3" fmla="*/ 144270 h 1071116"/>
              <a:gd name="connsiteX4" fmla="*/ 1302869 w 2605737"/>
              <a:gd name="connsiteY4" fmla="*/ 0 h 1071116"/>
              <a:gd name="connsiteX5" fmla="*/ 1423837 w 2605737"/>
              <a:gd name="connsiteY5" fmla="*/ 144270 h 1071116"/>
              <a:gd name="connsiteX6" fmla="*/ 2605737 w 2605737"/>
              <a:gd name="connsiteY6" fmla="*/ 144270 h 1071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05737" h="1071116">
                <a:moveTo>
                  <a:pt x="2605737" y="1071116"/>
                </a:moveTo>
                <a:lnTo>
                  <a:pt x="0" y="1071116"/>
                </a:lnTo>
                <a:lnTo>
                  <a:pt x="0" y="144270"/>
                </a:lnTo>
                <a:lnTo>
                  <a:pt x="1181901" y="144270"/>
                </a:lnTo>
                <a:lnTo>
                  <a:pt x="1302869" y="0"/>
                </a:lnTo>
                <a:lnTo>
                  <a:pt x="1423837" y="144270"/>
                </a:lnTo>
                <a:lnTo>
                  <a:pt x="2605737" y="14427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8369093" y="3180213"/>
            <a:ext cx="3709971" cy="3494994"/>
          </a:xfrm>
          <a:prstGeom prst="rect">
            <a:avLst/>
          </a:prstGeom>
          <a:solidFill>
            <a:srgbClr val="262626">
              <a:alpha val="50196"/>
            </a:srgbClr>
          </a:solidFill>
          <a:ln w="381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1" i="0" u="none" strike="noStrike" kern="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entury Gothic" panose="020B0502020202020204"/>
            </a:endParaRPr>
          </a:p>
        </p:txBody>
      </p:sp>
      <p:sp>
        <p:nvSpPr>
          <p:cNvPr id="67" name="Freeform 66"/>
          <p:cNvSpPr/>
          <p:nvPr/>
        </p:nvSpPr>
        <p:spPr>
          <a:xfrm rot="10800000">
            <a:off x="9040594" y="2469569"/>
            <a:ext cx="3129378" cy="725056"/>
          </a:xfrm>
          <a:custGeom>
            <a:avLst/>
            <a:gdLst>
              <a:gd name="connsiteX0" fmla="*/ 2605737 w 2605737"/>
              <a:gd name="connsiteY0" fmla="*/ 1071116 h 1071116"/>
              <a:gd name="connsiteX1" fmla="*/ 0 w 2605737"/>
              <a:gd name="connsiteY1" fmla="*/ 1071116 h 1071116"/>
              <a:gd name="connsiteX2" fmla="*/ 0 w 2605737"/>
              <a:gd name="connsiteY2" fmla="*/ 144270 h 1071116"/>
              <a:gd name="connsiteX3" fmla="*/ 1181901 w 2605737"/>
              <a:gd name="connsiteY3" fmla="*/ 144270 h 1071116"/>
              <a:gd name="connsiteX4" fmla="*/ 1302869 w 2605737"/>
              <a:gd name="connsiteY4" fmla="*/ 0 h 1071116"/>
              <a:gd name="connsiteX5" fmla="*/ 1423837 w 2605737"/>
              <a:gd name="connsiteY5" fmla="*/ 144270 h 1071116"/>
              <a:gd name="connsiteX6" fmla="*/ 2605737 w 2605737"/>
              <a:gd name="connsiteY6" fmla="*/ 144270 h 1071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05737" h="1071116">
                <a:moveTo>
                  <a:pt x="2605737" y="1071116"/>
                </a:moveTo>
                <a:lnTo>
                  <a:pt x="0" y="1071116"/>
                </a:lnTo>
                <a:lnTo>
                  <a:pt x="0" y="144270"/>
                </a:lnTo>
                <a:lnTo>
                  <a:pt x="1181901" y="144270"/>
                </a:lnTo>
                <a:lnTo>
                  <a:pt x="1302869" y="0"/>
                </a:lnTo>
                <a:lnTo>
                  <a:pt x="1423837" y="144270"/>
                </a:lnTo>
                <a:lnTo>
                  <a:pt x="2605737" y="14427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5" name="Content Placeholder 15"/>
          <p:cNvSpPr txBox="1">
            <a:spLocks/>
          </p:cNvSpPr>
          <p:nvPr/>
        </p:nvSpPr>
        <p:spPr>
          <a:xfrm>
            <a:off x="1218328" y="2513462"/>
            <a:ext cx="2602318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8899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ar-SA" sz="2800" b="0" i="0" u="none" strike="noStrike" kern="1200" cap="all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A Jannat LT" panose="01000000000000000000" pitchFamily="2" charset="-78"/>
                <a:ea typeface="+mj-ea"/>
                <a:cs typeface="A Jannat LT" panose="01000000000000000000" pitchFamily="2" charset="-78"/>
              </a:rPr>
              <a:t>السؤال</a:t>
            </a:r>
            <a:r>
              <a:rPr kumimoji="0" lang="ar-SA" sz="2800" b="0" i="0" u="none" strike="noStrike" kern="1200" cap="all" spc="0" normalizeH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A Jannat LT" panose="01000000000000000000" pitchFamily="2" charset="-78"/>
                <a:ea typeface="+mj-ea"/>
                <a:cs typeface="A Jannat LT" panose="01000000000000000000" pitchFamily="2" charset="-78"/>
              </a:rPr>
              <a:t> الثالث</a:t>
            </a:r>
            <a:endParaRPr kumimoji="0" lang="ko-KR" altLang="en-US" sz="3200" b="1" i="0" u="none" strike="noStrike" kern="1200" cap="all" spc="0" normalizeH="0" baseline="0" noProof="0" dirty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A Jannat LT" panose="01000000000000000000" pitchFamily="2" charset="-78"/>
              <a:ea typeface="+mj-ea"/>
              <a:cs typeface="A Jannat LT" panose="01000000000000000000" pitchFamily="2" charset="-78"/>
            </a:endParaRPr>
          </a:p>
        </p:txBody>
      </p:sp>
      <p:graphicFrame>
        <p:nvGraphicFramePr>
          <p:cNvPr id="31" name="عنصر نائب للمحتوى 3"/>
          <p:cNvGraphicFramePr>
            <a:graphicFrameLocks/>
          </p:cNvGraphicFramePr>
          <p:nvPr/>
        </p:nvGraphicFramePr>
        <p:xfrm>
          <a:off x="302211" y="631674"/>
          <a:ext cx="11431240" cy="1463040"/>
        </p:xfrm>
        <a:graphic>
          <a:graphicData uri="http://schemas.openxmlformats.org/drawingml/2006/table">
            <a:tbl>
              <a:tblPr rtl="1" firstRow="1" bandRow="1">
                <a:tableStyleId>{5C22544A-7EE6-4342-B048-85BDC9FD1C3A}</a:tableStyleId>
              </a:tblPr>
              <a:tblGrid>
                <a:gridCol w="28578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578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578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8578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68950">
                <a:tc>
                  <a:txBody>
                    <a:bodyPr/>
                    <a:lstStyle/>
                    <a:p>
                      <a:pPr algn="ctr" rtl="1"/>
                      <a:r>
                        <a:rPr lang="ar-SA" sz="2400" dirty="0"/>
                        <a:t>رقم النشاط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 rtl="1"/>
                      <a:endParaRPr lang="ar-SA" sz="24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SA" sz="2400" dirty="0"/>
                        <a:t>موضوع النشاط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SA" sz="2400" dirty="0"/>
                        <a:t>مراجعة الدرس السابق 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8950">
                <a:tc>
                  <a:txBody>
                    <a:bodyPr/>
                    <a:lstStyle/>
                    <a:p>
                      <a:pPr algn="ctr" rtl="1"/>
                      <a:r>
                        <a:rPr lang="ar-SA" sz="2400" dirty="0"/>
                        <a:t>مدة النشاط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SA" sz="2400" dirty="0"/>
                        <a:t>2د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SA" sz="2400" dirty="0"/>
                        <a:t>نوع النشاط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r" rtl="1"/>
                      <a:r>
                        <a:rPr lang="ar-SA" sz="2400" dirty="0"/>
                        <a:t>فردي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8950">
                <a:tc gridSpan="2">
                  <a:txBody>
                    <a:bodyPr/>
                    <a:lstStyle/>
                    <a:p>
                      <a:pPr algn="ctr" rtl="1"/>
                      <a:r>
                        <a:rPr lang="ar-SA" sz="2400" dirty="0"/>
                        <a:t>الاستراتيجية التعلمية النشطة</a:t>
                      </a:r>
                    </a:p>
                  </a:txBody>
                  <a:tcPr marL="121920" marR="121920" marT="60960" marB="60960"/>
                </a:tc>
                <a:tc hMerge="1">
                  <a:txBody>
                    <a:bodyPr/>
                    <a:lstStyle/>
                    <a:p>
                      <a:pPr rtl="1"/>
                      <a:endParaRPr lang="ar-SA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1"/>
                      <a:r>
                        <a:rPr lang="ar-SA" sz="2400" dirty="0"/>
                        <a:t>استراتيجية اكتشف الخطأ</a:t>
                      </a:r>
                    </a:p>
                  </a:txBody>
                  <a:tcPr marL="121920" marR="121920" marT="60960" marB="60960"/>
                </a:tc>
                <a:tc hMerge="1">
                  <a:txBody>
                    <a:bodyPr/>
                    <a:lstStyle/>
                    <a:p>
                      <a:pPr rtl="1"/>
                      <a:endParaRPr lang="ar-S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2" name="Content Placeholder 15"/>
          <p:cNvSpPr txBox="1">
            <a:spLocks/>
          </p:cNvSpPr>
          <p:nvPr/>
        </p:nvSpPr>
        <p:spPr>
          <a:xfrm>
            <a:off x="9040594" y="2561899"/>
            <a:ext cx="2602318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848899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ar-SA" altLang="ko-KR" sz="2800" dirty="0">
                <a:solidFill>
                  <a:prstClr val="white">
                    <a:lumMod val="95000"/>
                  </a:prstClr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السؤال الأول</a:t>
            </a:r>
            <a:endParaRPr kumimoji="0" lang="ko-KR" altLang="en-US" sz="3200" b="1" i="0" u="none" strike="noStrike" kern="1200" cap="all" spc="0" normalizeH="0" baseline="0" noProof="0" dirty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A Jannat LT" panose="01000000000000000000" pitchFamily="2" charset="-78"/>
              <a:ea typeface="+mj-ea"/>
              <a:cs typeface="A Jannat LT" panose="01000000000000000000" pitchFamily="2" charset="-78"/>
            </a:endParaRPr>
          </a:p>
        </p:txBody>
      </p:sp>
      <p:sp>
        <p:nvSpPr>
          <p:cNvPr id="34" name="Content Placeholder 15"/>
          <p:cNvSpPr txBox="1">
            <a:spLocks/>
          </p:cNvSpPr>
          <p:nvPr/>
        </p:nvSpPr>
        <p:spPr>
          <a:xfrm>
            <a:off x="4948526" y="2538082"/>
            <a:ext cx="2602318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8899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ar-SA" sz="2800" b="0" i="0" u="none" strike="noStrike" kern="1200" cap="all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A Jannat LT" panose="01000000000000000000" pitchFamily="2" charset="-78"/>
                <a:ea typeface="+mj-ea"/>
                <a:cs typeface="A Jannat LT" panose="01000000000000000000" pitchFamily="2" charset="-78"/>
              </a:rPr>
              <a:t>السؤال</a:t>
            </a:r>
            <a:r>
              <a:rPr kumimoji="0" lang="ar-SA" sz="2800" b="0" i="0" u="none" strike="noStrike" kern="1200" cap="all" spc="0" normalizeH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A Jannat LT" panose="01000000000000000000" pitchFamily="2" charset="-78"/>
                <a:ea typeface="+mj-ea"/>
                <a:cs typeface="A Jannat LT" panose="01000000000000000000" pitchFamily="2" charset="-78"/>
              </a:rPr>
              <a:t> الثاني </a:t>
            </a:r>
            <a:endParaRPr kumimoji="0" lang="ko-KR" altLang="en-US" sz="3200" b="1" i="0" u="none" strike="noStrike" kern="1200" cap="all" spc="0" normalizeH="0" baseline="0" noProof="0" dirty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A Jannat LT" panose="01000000000000000000" pitchFamily="2" charset="-78"/>
              <a:ea typeface="+mj-ea"/>
              <a:cs typeface="A Jannat LT" panose="01000000000000000000" pitchFamily="2" charset="-78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4645435" y="3194625"/>
            <a:ext cx="3489572" cy="3494994"/>
          </a:xfrm>
          <a:prstGeom prst="rect">
            <a:avLst/>
          </a:prstGeom>
          <a:solidFill>
            <a:srgbClr val="262626">
              <a:alpha val="50196"/>
            </a:srgbClr>
          </a:solidFill>
          <a:ln w="381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ar-SA" sz="4000" b="1" kern="0" dirty="0" err="1">
              <a:solidFill>
                <a:srgbClr val="FFC000"/>
              </a:solidFill>
              <a:latin typeface="Century Gothic" panose="020B0502020202020204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627625" y="3194625"/>
            <a:ext cx="3783724" cy="3494994"/>
          </a:xfrm>
          <a:prstGeom prst="rect">
            <a:avLst/>
          </a:prstGeom>
          <a:solidFill>
            <a:srgbClr val="262626">
              <a:alpha val="50196"/>
            </a:srgbClr>
          </a:solidFill>
          <a:ln w="381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ar-SA" sz="3600" b="1" kern="0" dirty="0">
              <a:solidFill>
                <a:srgbClr val="FFC000"/>
              </a:solidFill>
              <a:latin typeface="Century Gothic" panose="020B0502020202020204"/>
            </a:endParaRP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7625" y="1167931"/>
            <a:ext cx="1306673" cy="390525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8702139" y="3459967"/>
            <a:ext cx="3078182" cy="299184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1" anchor="ctr"/>
          <a:lstStyle/>
          <a:p>
            <a:pPr algn="ctr"/>
            <a:r>
              <a:rPr lang="ar-SA" sz="3200" b="1" dirty="0"/>
              <a:t>لكل مشروع في تعلم الآلة </a:t>
            </a:r>
            <a:r>
              <a:rPr lang="ar-SA" sz="3200" b="1" dirty="0">
                <a:solidFill>
                  <a:srgbClr val="FF0000"/>
                </a:solidFill>
              </a:rPr>
              <a:t>ثلاثة</a:t>
            </a:r>
            <a:r>
              <a:rPr lang="ar-SA" sz="3200" b="1" dirty="0"/>
              <a:t> مراحل رئيسية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980396" y="3424724"/>
            <a:ext cx="3078182" cy="299184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1" anchor="ctr"/>
          <a:lstStyle/>
          <a:p>
            <a:pPr algn="ctr"/>
            <a:r>
              <a:rPr lang="ar-SA" sz="2800" b="1" dirty="0"/>
              <a:t>عند فتح المشروع في موقع </a:t>
            </a:r>
            <a:r>
              <a:rPr lang="ar-SA" sz="2800" b="1" dirty="0" err="1"/>
              <a:t>سكراتش</a:t>
            </a:r>
            <a:r>
              <a:rPr lang="ar-SA" sz="2800" b="1" dirty="0"/>
              <a:t> تم أضافة فئة الصور وهي </a:t>
            </a:r>
            <a:r>
              <a:rPr lang="ar-SA" sz="2800" b="1" dirty="0">
                <a:solidFill>
                  <a:srgbClr val="FF0000"/>
                </a:solidFill>
              </a:rPr>
              <a:t>أمثلة الصور التي سوف يجرى عليها الكود البرمجي </a:t>
            </a:r>
          </a:p>
        </p:txBody>
      </p:sp>
      <p:sp>
        <p:nvSpPr>
          <p:cNvPr id="22" name="Rectangle 21"/>
          <p:cNvSpPr/>
          <p:nvPr/>
        </p:nvSpPr>
        <p:spPr>
          <a:xfrm>
            <a:off x="4851130" y="3459968"/>
            <a:ext cx="3078182" cy="299184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1" anchor="ctr"/>
          <a:lstStyle/>
          <a:p>
            <a:pPr algn="ctr"/>
            <a:r>
              <a:rPr lang="ar-SA" sz="2400" b="1" dirty="0"/>
              <a:t>في المرحلة الثالثة استخدمنا قدرة الحاسب للتعرف على الأمثلة بواسطة  لعبة في </a:t>
            </a:r>
            <a:r>
              <a:rPr lang="ar-SA" sz="2400" b="1" dirty="0" err="1">
                <a:solidFill>
                  <a:srgbClr val="FF0000"/>
                </a:solidFill>
              </a:rPr>
              <a:t>سكراتش</a:t>
            </a:r>
            <a:r>
              <a:rPr lang="ar-SA" sz="2400" b="1" dirty="0">
                <a:solidFill>
                  <a:srgbClr val="FF0000"/>
                </a:solidFill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70037304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3" grpId="0" animBg="1"/>
      <p:bldP spid="65" grpId="0" animBg="1"/>
      <p:bldP spid="66" grpId="0" animBg="1"/>
      <p:bldP spid="67" grpId="0" animBg="1"/>
      <p:bldP spid="15" grpId="0"/>
      <p:bldP spid="32" grpId="0"/>
      <p:bldP spid="34" grpId="0"/>
      <p:bldP spid="35" grpId="0" animBg="1"/>
      <p:bldP spid="36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66" name="Content Placeholder 15">
            <a:extLst>
              <a:ext uri="{FF2B5EF4-FFF2-40B4-BE49-F238E27FC236}">
                <a16:creationId xmlns:a16="http://schemas.microsoft.com/office/drawing/2014/main" id="{17C7D2AA-5855-4FAB-9565-361243A59664}"/>
              </a:ext>
            </a:extLst>
          </p:cNvPr>
          <p:cNvSpPr txBox="1">
            <a:spLocks/>
          </p:cNvSpPr>
          <p:nvPr/>
        </p:nvSpPr>
        <p:spPr>
          <a:xfrm>
            <a:off x="8454452" y="358947"/>
            <a:ext cx="3582650" cy="520909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ar-SA" altLang="ko-KR" sz="105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 rtl="1"/>
            <a:endParaRPr lang="ar-SA" altLang="ko-KR" sz="88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 rtl="1"/>
            <a:r>
              <a:rPr lang="ar-SA" altLang="ko-KR" sz="40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لابأس من التطبيق على البدائل التعليمية على الأجهزة الذكية</a:t>
            </a:r>
          </a:p>
          <a:p>
            <a:pPr algn="r" rtl="1"/>
            <a:endParaRPr lang="ar-SA" altLang="ko-KR" sz="40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 rtl="1"/>
            <a:endParaRPr lang="ar-SA" altLang="ko-KR" sz="40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 rtl="1"/>
            <a:endParaRPr lang="ko-KR" altLang="en-US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BE5BC24-23F8-46AC-8300-D4EC4D70DE63}"/>
              </a:ext>
            </a:extLst>
          </p:cNvPr>
          <p:cNvSpPr/>
          <p:nvPr/>
        </p:nvSpPr>
        <p:spPr>
          <a:xfrm flipH="1">
            <a:off x="2947341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3560F69-CA01-4BA0-A461-FB3A55271037}"/>
              </a:ext>
            </a:extLst>
          </p:cNvPr>
          <p:cNvSpPr/>
          <p:nvPr/>
        </p:nvSpPr>
        <p:spPr>
          <a:xfrm flipH="1" flipV="1">
            <a:off x="8890684" y="2157570"/>
            <a:ext cx="3301316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endParaRPr lang="en-US" sz="1100" dirty="0">
              <a:solidFill>
                <a:schemeClr val="accent3"/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5" name="Content Placeholder 15">
            <a:extLst>
              <a:ext uri="{FF2B5EF4-FFF2-40B4-BE49-F238E27FC236}">
                <a16:creationId xmlns:a16="http://schemas.microsoft.com/office/drawing/2014/main" id="{CC9491C5-BF30-517B-9858-77FD1568FA9B}"/>
              </a:ext>
            </a:extLst>
          </p:cNvPr>
          <p:cNvSpPr txBox="1">
            <a:spLocks/>
          </p:cNvSpPr>
          <p:nvPr/>
        </p:nvSpPr>
        <p:spPr>
          <a:xfrm>
            <a:off x="2691475" y="834573"/>
            <a:ext cx="3582650" cy="596588"/>
          </a:xfrm>
          <a:prstGeom prst="rect">
            <a:avLst/>
          </a:prstGeom>
        </p:spPr>
        <p:txBody>
          <a:bodyPr lIns="0" tIns="0" rIns="0" bIns="0">
            <a:normAutofit fontScale="85000" lnSpcReduction="10000"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r>
              <a:rPr lang="ar-SA" altLang="ko-KR" sz="4400" b="1" dirty="0">
                <a:solidFill>
                  <a:srgbClr val="0070C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شرح الدرس بالتفصيل </a:t>
            </a:r>
            <a:endParaRPr lang="ko-KR" altLang="en-US" sz="4400" b="1" dirty="0">
              <a:solidFill>
                <a:srgbClr val="0070C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pic>
        <p:nvPicPr>
          <p:cNvPr id="8" name="صورة 7">
            <a:hlinkClick r:id="rId6"/>
            <a:extLst>
              <a:ext uri="{FF2B5EF4-FFF2-40B4-BE49-F238E27FC236}">
                <a16:creationId xmlns:a16="http://schemas.microsoft.com/office/drawing/2014/main" id="{F03551D4-FB39-3FF9-B470-6B8B2B3C758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98867" y="1636461"/>
            <a:ext cx="4276725" cy="3057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1587357"/>
      </p:ext>
    </p:extLst>
  </p:cSld>
  <p:clrMapOvr>
    <a:masterClrMapping/>
  </p:clrMapOvr>
  <p:transition spd="slow">
    <p:wip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" t="12192" r="354" b="4034"/>
          <a:stretch/>
        </p:blipFill>
        <p:spPr/>
      </p:pic>
      <p:sp>
        <p:nvSpPr>
          <p:cNvPr id="24" name="Rectangle 23"/>
          <p:cNvSpPr/>
          <p:nvPr/>
        </p:nvSpPr>
        <p:spPr>
          <a:xfrm flipH="1">
            <a:off x="0" y="-8549"/>
            <a:ext cx="4813310" cy="6866549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t-LT" sz="3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25" name="Rectangle 24"/>
          <p:cNvSpPr/>
          <p:nvPr/>
        </p:nvSpPr>
        <p:spPr>
          <a:xfrm flipH="1">
            <a:off x="405234" y="3599185"/>
            <a:ext cx="4243980" cy="67710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44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 Jannat LT" panose="01000000000000000000" pitchFamily="2" charset="-78"/>
                <a:ea typeface="+mn-ea"/>
                <a:cs typeface="A Jannat LT" panose="01000000000000000000" pitchFamily="2" charset="-78"/>
              </a:rPr>
              <a:t>الواجب </a:t>
            </a:r>
            <a:endParaRPr kumimoji="0" lang="ko-KR" altLang="en-US" sz="44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 Jannat LT" panose="01000000000000000000" pitchFamily="2" charset="-78"/>
              <a:ea typeface="+mn-ea"/>
              <a:cs typeface="A Jannat LT" panose="01000000000000000000" pitchFamily="2" charset="-78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365794" y="326495"/>
            <a:ext cx="5258752" cy="5886943"/>
          </a:xfrm>
          <a:prstGeom prst="rect">
            <a:avLst/>
          </a:prstGeom>
          <a:noFill/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>
            <a:off x="3553143" y="1503563"/>
            <a:ext cx="72778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val 41"/>
          <p:cNvSpPr/>
          <p:nvPr/>
        </p:nvSpPr>
        <p:spPr>
          <a:xfrm>
            <a:off x="7566223" y="1984881"/>
            <a:ext cx="2876544" cy="2876544"/>
          </a:xfrm>
          <a:prstGeom prst="ellipse">
            <a:avLst/>
          </a:prstGeom>
          <a:noFill/>
          <a:ln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3" name="Oval 32"/>
          <p:cNvSpPr/>
          <p:nvPr/>
        </p:nvSpPr>
        <p:spPr>
          <a:xfrm>
            <a:off x="7521610" y="1940268"/>
            <a:ext cx="2965768" cy="2965768"/>
          </a:xfrm>
          <a:prstGeom prst="ellipse">
            <a:avLst/>
          </a:prstGeom>
          <a:noFill/>
          <a:ln w="317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7396887" y="2379990"/>
            <a:ext cx="666045" cy="66604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4" name="Oval 33"/>
          <p:cNvSpPr/>
          <p:nvPr/>
        </p:nvSpPr>
        <p:spPr>
          <a:xfrm>
            <a:off x="7339912" y="3203019"/>
            <a:ext cx="384884" cy="38488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5" name="Oval 34"/>
          <p:cNvSpPr/>
          <p:nvPr/>
        </p:nvSpPr>
        <p:spPr>
          <a:xfrm>
            <a:off x="7944038" y="2116156"/>
            <a:ext cx="297701" cy="2977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6" name="Oval 35"/>
          <p:cNvSpPr/>
          <p:nvPr/>
        </p:nvSpPr>
        <p:spPr>
          <a:xfrm>
            <a:off x="9781393" y="4242129"/>
            <a:ext cx="474373" cy="47437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7" name="Oval 36"/>
          <p:cNvSpPr/>
          <p:nvPr/>
        </p:nvSpPr>
        <p:spPr>
          <a:xfrm>
            <a:off x="10169141" y="4011741"/>
            <a:ext cx="278538" cy="27853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8" name="Oval 37"/>
          <p:cNvSpPr/>
          <p:nvPr/>
        </p:nvSpPr>
        <p:spPr>
          <a:xfrm>
            <a:off x="9632542" y="2064962"/>
            <a:ext cx="297701" cy="2977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9" name="Oval 38"/>
          <p:cNvSpPr/>
          <p:nvPr/>
        </p:nvSpPr>
        <p:spPr>
          <a:xfrm>
            <a:off x="9958065" y="2297680"/>
            <a:ext cx="164620" cy="16462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0" name="Oval 39"/>
          <p:cNvSpPr/>
          <p:nvPr/>
        </p:nvSpPr>
        <p:spPr>
          <a:xfrm>
            <a:off x="8159429" y="4589036"/>
            <a:ext cx="164620" cy="16462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1" name="Oval 40"/>
          <p:cNvSpPr/>
          <p:nvPr/>
        </p:nvSpPr>
        <p:spPr>
          <a:xfrm>
            <a:off x="8357684" y="4512788"/>
            <a:ext cx="658099" cy="6580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8" name="Freeform 13"/>
          <p:cNvSpPr>
            <a:spLocks noEditPoints="1"/>
          </p:cNvSpPr>
          <p:nvPr/>
        </p:nvSpPr>
        <p:spPr bwMode="auto">
          <a:xfrm>
            <a:off x="3988167" y="5269688"/>
            <a:ext cx="687257" cy="776288"/>
          </a:xfrm>
          <a:custGeom>
            <a:avLst/>
            <a:gdLst>
              <a:gd name="T0" fmla="*/ 435 w 1487"/>
              <a:gd name="T1" fmla="*/ 1680 h 1680"/>
              <a:gd name="T2" fmla="*/ 346 w 1487"/>
              <a:gd name="T3" fmla="*/ 1283 h 1680"/>
              <a:gd name="T4" fmla="*/ 627 w 1487"/>
              <a:gd name="T5" fmla="*/ 1194 h 1680"/>
              <a:gd name="T6" fmla="*/ 654 w 1487"/>
              <a:gd name="T7" fmla="*/ 1074 h 1680"/>
              <a:gd name="T8" fmla="*/ 299 w 1487"/>
              <a:gd name="T9" fmla="*/ 672 h 1680"/>
              <a:gd name="T10" fmla="*/ 66 w 1487"/>
              <a:gd name="T11" fmla="*/ 441 h 1680"/>
              <a:gd name="T12" fmla="*/ 252 w 1487"/>
              <a:gd name="T13" fmla="*/ 0 h 1680"/>
              <a:gd name="T14" fmla="*/ 979 w 1487"/>
              <a:gd name="T15" fmla="*/ 14 h 1680"/>
              <a:gd name="T16" fmla="*/ 252 w 1487"/>
              <a:gd name="T17" fmla="*/ 28 h 1680"/>
              <a:gd name="T18" fmla="*/ 90 w 1487"/>
              <a:gd name="T19" fmla="*/ 426 h 1680"/>
              <a:gd name="T20" fmla="*/ 327 w 1487"/>
              <a:gd name="T21" fmla="*/ 668 h 1680"/>
              <a:gd name="T22" fmla="*/ 682 w 1487"/>
              <a:gd name="T23" fmla="*/ 1074 h 1680"/>
              <a:gd name="T24" fmla="*/ 627 w 1487"/>
              <a:gd name="T25" fmla="*/ 1222 h 1680"/>
              <a:gd name="T26" fmla="*/ 374 w 1487"/>
              <a:gd name="T27" fmla="*/ 1283 h 1680"/>
              <a:gd name="T28" fmla="*/ 435 w 1487"/>
              <a:gd name="T29" fmla="*/ 1652 h 1680"/>
              <a:gd name="T30" fmla="*/ 1113 w 1487"/>
              <a:gd name="T31" fmla="*/ 1591 h 1680"/>
              <a:gd name="T32" fmla="*/ 1051 w 1487"/>
              <a:gd name="T33" fmla="*/ 1222 h 1680"/>
              <a:gd name="T34" fmla="*/ 804 w 1487"/>
              <a:gd name="T35" fmla="*/ 1167 h 1680"/>
              <a:gd name="T36" fmla="*/ 845 w 1487"/>
              <a:gd name="T37" fmla="*/ 1024 h 1680"/>
              <a:gd name="T38" fmla="*/ 1005 w 1487"/>
              <a:gd name="T39" fmla="*/ 963 h 1680"/>
              <a:gd name="T40" fmla="*/ 851 w 1487"/>
              <a:gd name="T41" fmla="*/ 1051 h 1680"/>
              <a:gd name="T42" fmla="*/ 832 w 1487"/>
              <a:gd name="T43" fmla="*/ 1167 h 1680"/>
              <a:gd name="T44" fmla="*/ 1051 w 1487"/>
              <a:gd name="T45" fmla="*/ 1194 h 1680"/>
              <a:gd name="T46" fmla="*/ 1141 w 1487"/>
              <a:gd name="T47" fmla="*/ 1591 h 1680"/>
              <a:gd name="T48" fmla="*/ 1109 w 1487"/>
              <a:gd name="T49" fmla="*/ 864 h 1680"/>
              <a:gd name="T50" fmla="*/ 1097 w 1487"/>
              <a:gd name="T51" fmla="*/ 842 h 1680"/>
              <a:gd name="T52" fmla="*/ 1140 w 1487"/>
              <a:gd name="T53" fmla="*/ 793 h 1680"/>
              <a:gd name="T54" fmla="*/ 1121 w 1487"/>
              <a:gd name="T55" fmla="*/ 857 h 1680"/>
              <a:gd name="T56" fmla="*/ 1160 w 1487"/>
              <a:gd name="T57" fmla="*/ 754 h 1680"/>
              <a:gd name="T58" fmla="*/ 1146 w 1487"/>
              <a:gd name="T59" fmla="*/ 736 h 1680"/>
              <a:gd name="T60" fmla="*/ 1192 w 1487"/>
              <a:gd name="T61" fmla="*/ 618 h 1680"/>
              <a:gd name="T62" fmla="*/ 1442 w 1487"/>
              <a:gd name="T63" fmla="*/ 197 h 1680"/>
              <a:gd name="T64" fmla="*/ 1235 w 1487"/>
              <a:gd name="T65" fmla="*/ 28 h 1680"/>
              <a:gd name="T66" fmla="*/ 1235 w 1487"/>
              <a:gd name="T67" fmla="*/ 0 h 1680"/>
              <a:gd name="T68" fmla="*/ 1469 w 1487"/>
              <a:gd name="T69" fmla="*/ 190 h 1680"/>
              <a:gd name="T70" fmla="*/ 1207 w 1487"/>
              <a:gd name="T71" fmla="*/ 642 h 1680"/>
              <a:gd name="T72" fmla="*/ 1173 w 1487"/>
              <a:gd name="T73" fmla="*/ 744 h 1680"/>
              <a:gd name="T74" fmla="*/ 285 w 1487"/>
              <a:gd name="T75" fmla="*/ 450 h 1680"/>
              <a:gd name="T76" fmla="*/ 163 w 1487"/>
              <a:gd name="T77" fmla="*/ 227 h 1680"/>
              <a:gd name="T78" fmla="*/ 252 w 1487"/>
              <a:gd name="T79" fmla="*/ 150 h 1680"/>
              <a:gd name="T80" fmla="*/ 323 w 1487"/>
              <a:gd name="T81" fmla="*/ 412 h 1680"/>
              <a:gd name="T82" fmla="*/ 285 w 1487"/>
              <a:gd name="T83" fmla="*/ 450 h 1680"/>
              <a:gd name="T84" fmla="*/ 278 w 1487"/>
              <a:gd name="T85" fmla="*/ 419 h 1680"/>
              <a:gd name="T86" fmla="*/ 295 w 1487"/>
              <a:gd name="T87" fmla="*/ 412 h 1680"/>
              <a:gd name="T88" fmla="*/ 252 w 1487"/>
              <a:gd name="T89" fmla="*/ 178 h 1680"/>
              <a:gd name="T90" fmla="*/ 1202 w 1487"/>
              <a:gd name="T91" fmla="*/ 449 h 1680"/>
              <a:gd name="T92" fmla="*/ 1164 w 1487"/>
              <a:gd name="T93" fmla="*/ 411 h 1680"/>
              <a:gd name="T94" fmla="*/ 1235 w 1487"/>
              <a:gd name="T95" fmla="*/ 150 h 1680"/>
              <a:gd name="T96" fmla="*/ 1228 w 1487"/>
              <a:gd name="T97" fmla="*/ 439 h 1680"/>
              <a:gd name="T98" fmla="*/ 1192 w 1487"/>
              <a:gd name="T99" fmla="*/ 178 h 1680"/>
              <a:gd name="T100" fmla="*/ 1198 w 1487"/>
              <a:gd name="T101" fmla="*/ 420 h 1680"/>
              <a:gd name="T102" fmla="*/ 1296 w 1487"/>
              <a:gd name="T103" fmla="*/ 234 h 1680"/>
              <a:gd name="T104" fmla="*/ 1192 w 1487"/>
              <a:gd name="T105" fmla="*/ 178 h 1680"/>
              <a:gd name="T106" fmla="*/ 1055 w 1487"/>
              <a:gd name="T107" fmla="*/ 28 h 1680"/>
              <a:gd name="T108" fmla="*/ 1055 w 1487"/>
              <a:gd name="T109" fmla="*/ 0 h 1680"/>
              <a:gd name="T110" fmla="*/ 1179 w 1487"/>
              <a:gd name="T111" fmla="*/ 14 h 1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487" h="1680">
                <a:moveTo>
                  <a:pt x="1051" y="1680"/>
                </a:moveTo>
                <a:cubicBezTo>
                  <a:pt x="435" y="1680"/>
                  <a:pt x="435" y="1680"/>
                  <a:pt x="435" y="1680"/>
                </a:cubicBezTo>
                <a:cubicBezTo>
                  <a:pt x="386" y="1680"/>
                  <a:pt x="346" y="1640"/>
                  <a:pt x="346" y="1591"/>
                </a:cubicBezTo>
                <a:cubicBezTo>
                  <a:pt x="346" y="1283"/>
                  <a:pt x="346" y="1283"/>
                  <a:pt x="346" y="1283"/>
                </a:cubicBezTo>
                <a:cubicBezTo>
                  <a:pt x="346" y="1234"/>
                  <a:pt x="386" y="1194"/>
                  <a:pt x="435" y="1194"/>
                </a:cubicBezTo>
                <a:cubicBezTo>
                  <a:pt x="627" y="1194"/>
                  <a:pt x="627" y="1194"/>
                  <a:pt x="627" y="1194"/>
                </a:cubicBezTo>
                <a:cubicBezTo>
                  <a:pt x="642" y="1194"/>
                  <a:pt x="654" y="1182"/>
                  <a:pt x="654" y="1167"/>
                </a:cubicBezTo>
                <a:cubicBezTo>
                  <a:pt x="654" y="1074"/>
                  <a:pt x="654" y="1074"/>
                  <a:pt x="654" y="1074"/>
                </a:cubicBezTo>
                <a:cubicBezTo>
                  <a:pt x="654" y="1063"/>
                  <a:pt x="647" y="1053"/>
                  <a:pt x="635" y="1051"/>
                </a:cubicBezTo>
                <a:cubicBezTo>
                  <a:pt x="457" y="1006"/>
                  <a:pt x="322" y="854"/>
                  <a:pt x="299" y="672"/>
                </a:cubicBezTo>
                <a:cubicBezTo>
                  <a:pt x="298" y="660"/>
                  <a:pt x="291" y="649"/>
                  <a:pt x="280" y="643"/>
                </a:cubicBezTo>
                <a:cubicBezTo>
                  <a:pt x="184" y="582"/>
                  <a:pt x="111" y="514"/>
                  <a:pt x="66" y="441"/>
                </a:cubicBezTo>
                <a:cubicBezTo>
                  <a:pt x="0" y="336"/>
                  <a:pt x="4" y="247"/>
                  <a:pt x="18" y="190"/>
                </a:cubicBezTo>
                <a:cubicBezTo>
                  <a:pt x="47" y="78"/>
                  <a:pt x="143" y="0"/>
                  <a:pt x="252" y="0"/>
                </a:cubicBezTo>
                <a:cubicBezTo>
                  <a:pt x="965" y="0"/>
                  <a:pt x="965" y="0"/>
                  <a:pt x="965" y="0"/>
                </a:cubicBezTo>
                <a:cubicBezTo>
                  <a:pt x="973" y="0"/>
                  <a:pt x="979" y="6"/>
                  <a:pt x="979" y="14"/>
                </a:cubicBezTo>
                <a:cubicBezTo>
                  <a:pt x="979" y="22"/>
                  <a:pt x="973" y="28"/>
                  <a:pt x="965" y="28"/>
                </a:cubicBezTo>
                <a:cubicBezTo>
                  <a:pt x="252" y="28"/>
                  <a:pt x="252" y="28"/>
                  <a:pt x="252" y="28"/>
                </a:cubicBezTo>
                <a:cubicBezTo>
                  <a:pt x="156" y="28"/>
                  <a:pt x="71" y="98"/>
                  <a:pt x="45" y="197"/>
                </a:cubicBezTo>
                <a:cubicBezTo>
                  <a:pt x="32" y="248"/>
                  <a:pt x="29" y="330"/>
                  <a:pt x="90" y="426"/>
                </a:cubicBezTo>
                <a:cubicBezTo>
                  <a:pt x="133" y="495"/>
                  <a:pt x="202" y="560"/>
                  <a:pt x="295" y="619"/>
                </a:cubicBezTo>
                <a:cubicBezTo>
                  <a:pt x="313" y="630"/>
                  <a:pt x="324" y="648"/>
                  <a:pt x="327" y="668"/>
                </a:cubicBezTo>
                <a:cubicBezTo>
                  <a:pt x="348" y="839"/>
                  <a:pt x="475" y="982"/>
                  <a:pt x="642" y="1023"/>
                </a:cubicBezTo>
                <a:cubicBezTo>
                  <a:pt x="666" y="1029"/>
                  <a:pt x="682" y="1050"/>
                  <a:pt x="682" y="1074"/>
                </a:cubicBezTo>
                <a:cubicBezTo>
                  <a:pt x="682" y="1167"/>
                  <a:pt x="682" y="1167"/>
                  <a:pt x="682" y="1167"/>
                </a:cubicBezTo>
                <a:cubicBezTo>
                  <a:pt x="682" y="1197"/>
                  <a:pt x="658" y="1222"/>
                  <a:pt x="627" y="1222"/>
                </a:cubicBezTo>
                <a:cubicBezTo>
                  <a:pt x="435" y="1222"/>
                  <a:pt x="435" y="1222"/>
                  <a:pt x="435" y="1222"/>
                </a:cubicBezTo>
                <a:cubicBezTo>
                  <a:pt x="402" y="1222"/>
                  <a:pt x="374" y="1249"/>
                  <a:pt x="374" y="1283"/>
                </a:cubicBezTo>
                <a:cubicBezTo>
                  <a:pt x="374" y="1591"/>
                  <a:pt x="374" y="1591"/>
                  <a:pt x="374" y="1591"/>
                </a:cubicBezTo>
                <a:cubicBezTo>
                  <a:pt x="374" y="1625"/>
                  <a:pt x="402" y="1652"/>
                  <a:pt x="435" y="1652"/>
                </a:cubicBezTo>
                <a:cubicBezTo>
                  <a:pt x="1051" y="1652"/>
                  <a:pt x="1051" y="1652"/>
                  <a:pt x="1051" y="1652"/>
                </a:cubicBezTo>
                <a:cubicBezTo>
                  <a:pt x="1085" y="1652"/>
                  <a:pt x="1113" y="1625"/>
                  <a:pt x="1113" y="1591"/>
                </a:cubicBezTo>
                <a:cubicBezTo>
                  <a:pt x="1113" y="1283"/>
                  <a:pt x="1113" y="1283"/>
                  <a:pt x="1113" y="1283"/>
                </a:cubicBezTo>
                <a:cubicBezTo>
                  <a:pt x="1113" y="1249"/>
                  <a:pt x="1085" y="1222"/>
                  <a:pt x="1051" y="1222"/>
                </a:cubicBezTo>
                <a:cubicBezTo>
                  <a:pt x="860" y="1222"/>
                  <a:pt x="860" y="1222"/>
                  <a:pt x="860" y="1222"/>
                </a:cubicBezTo>
                <a:cubicBezTo>
                  <a:pt x="829" y="1222"/>
                  <a:pt x="804" y="1197"/>
                  <a:pt x="804" y="1167"/>
                </a:cubicBezTo>
                <a:cubicBezTo>
                  <a:pt x="804" y="1075"/>
                  <a:pt x="804" y="1075"/>
                  <a:pt x="804" y="1075"/>
                </a:cubicBezTo>
                <a:cubicBezTo>
                  <a:pt x="804" y="1050"/>
                  <a:pt x="821" y="1029"/>
                  <a:pt x="845" y="1024"/>
                </a:cubicBezTo>
                <a:cubicBezTo>
                  <a:pt x="895" y="1011"/>
                  <a:pt x="942" y="990"/>
                  <a:pt x="985" y="960"/>
                </a:cubicBezTo>
                <a:cubicBezTo>
                  <a:pt x="991" y="955"/>
                  <a:pt x="1000" y="957"/>
                  <a:pt x="1005" y="963"/>
                </a:cubicBezTo>
                <a:cubicBezTo>
                  <a:pt x="1009" y="969"/>
                  <a:pt x="1007" y="978"/>
                  <a:pt x="1001" y="982"/>
                </a:cubicBezTo>
                <a:cubicBezTo>
                  <a:pt x="956" y="1014"/>
                  <a:pt x="905" y="1037"/>
                  <a:pt x="851" y="1051"/>
                </a:cubicBezTo>
                <a:cubicBezTo>
                  <a:pt x="840" y="1054"/>
                  <a:pt x="832" y="1063"/>
                  <a:pt x="832" y="1075"/>
                </a:cubicBezTo>
                <a:cubicBezTo>
                  <a:pt x="832" y="1167"/>
                  <a:pt x="832" y="1167"/>
                  <a:pt x="832" y="1167"/>
                </a:cubicBezTo>
                <a:cubicBezTo>
                  <a:pt x="832" y="1182"/>
                  <a:pt x="845" y="1194"/>
                  <a:pt x="860" y="1194"/>
                </a:cubicBezTo>
                <a:cubicBezTo>
                  <a:pt x="1051" y="1194"/>
                  <a:pt x="1051" y="1194"/>
                  <a:pt x="1051" y="1194"/>
                </a:cubicBezTo>
                <a:cubicBezTo>
                  <a:pt x="1101" y="1194"/>
                  <a:pt x="1141" y="1234"/>
                  <a:pt x="1141" y="1283"/>
                </a:cubicBezTo>
                <a:cubicBezTo>
                  <a:pt x="1141" y="1591"/>
                  <a:pt x="1141" y="1591"/>
                  <a:pt x="1141" y="1591"/>
                </a:cubicBezTo>
                <a:cubicBezTo>
                  <a:pt x="1141" y="1640"/>
                  <a:pt x="1101" y="1680"/>
                  <a:pt x="1051" y="1680"/>
                </a:cubicBezTo>
                <a:close/>
                <a:moveTo>
                  <a:pt x="1109" y="864"/>
                </a:moveTo>
                <a:cubicBezTo>
                  <a:pt x="1107" y="864"/>
                  <a:pt x="1104" y="863"/>
                  <a:pt x="1102" y="862"/>
                </a:cubicBezTo>
                <a:cubicBezTo>
                  <a:pt x="1095" y="858"/>
                  <a:pt x="1093" y="849"/>
                  <a:pt x="1097" y="842"/>
                </a:cubicBezTo>
                <a:cubicBezTo>
                  <a:pt x="1106" y="828"/>
                  <a:pt x="1115" y="814"/>
                  <a:pt x="1122" y="799"/>
                </a:cubicBezTo>
                <a:cubicBezTo>
                  <a:pt x="1125" y="792"/>
                  <a:pt x="1134" y="789"/>
                  <a:pt x="1140" y="793"/>
                </a:cubicBezTo>
                <a:cubicBezTo>
                  <a:pt x="1147" y="796"/>
                  <a:pt x="1150" y="804"/>
                  <a:pt x="1147" y="811"/>
                </a:cubicBezTo>
                <a:cubicBezTo>
                  <a:pt x="1139" y="827"/>
                  <a:pt x="1130" y="843"/>
                  <a:pt x="1121" y="857"/>
                </a:cubicBezTo>
                <a:cubicBezTo>
                  <a:pt x="1118" y="862"/>
                  <a:pt x="1114" y="864"/>
                  <a:pt x="1109" y="864"/>
                </a:cubicBezTo>
                <a:close/>
                <a:moveTo>
                  <a:pt x="1160" y="754"/>
                </a:moveTo>
                <a:cubicBezTo>
                  <a:pt x="1159" y="754"/>
                  <a:pt x="1157" y="754"/>
                  <a:pt x="1156" y="753"/>
                </a:cubicBezTo>
                <a:cubicBezTo>
                  <a:pt x="1148" y="751"/>
                  <a:pt x="1144" y="743"/>
                  <a:pt x="1146" y="736"/>
                </a:cubicBezTo>
                <a:cubicBezTo>
                  <a:pt x="1153" y="714"/>
                  <a:pt x="1158" y="691"/>
                  <a:pt x="1161" y="668"/>
                </a:cubicBezTo>
                <a:cubicBezTo>
                  <a:pt x="1163" y="647"/>
                  <a:pt x="1175" y="629"/>
                  <a:pt x="1192" y="618"/>
                </a:cubicBezTo>
                <a:cubicBezTo>
                  <a:pt x="1285" y="560"/>
                  <a:pt x="1354" y="495"/>
                  <a:pt x="1397" y="426"/>
                </a:cubicBezTo>
                <a:cubicBezTo>
                  <a:pt x="1458" y="330"/>
                  <a:pt x="1455" y="248"/>
                  <a:pt x="1442" y="197"/>
                </a:cubicBezTo>
                <a:cubicBezTo>
                  <a:pt x="1421" y="118"/>
                  <a:pt x="1362" y="55"/>
                  <a:pt x="1287" y="35"/>
                </a:cubicBezTo>
                <a:cubicBezTo>
                  <a:pt x="1270" y="30"/>
                  <a:pt x="1252" y="28"/>
                  <a:pt x="1235" y="28"/>
                </a:cubicBezTo>
                <a:cubicBezTo>
                  <a:pt x="1227" y="28"/>
                  <a:pt x="1221" y="22"/>
                  <a:pt x="1221" y="14"/>
                </a:cubicBezTo>
                <a:cubicBezTo>
                  <a:pt x="1221" y="6"/>
                  <a:pt x="1227" y="0"/>
                  <a:pt x="1235" y="0"/>
                </a:cubicBezTo>
                <a:cubicBezTo>
                  <a:pt x="1255" y="0"/>
                  <a:pt x="1275" y="3"/>
                  <a:pt x="1294" y="8"/>
                </a:cubicBezTo>
                <a:cubicBezTo>
                  <a:pt x="1379" y="31"/>
                  <a:pt x="1446" y="101"/>
                  <a:pt x="1469" y="190"/>
                </a:cubicBezTo>
                <a:cubicBezTo>
                  <a:pt x="1483" y="247"/>
                  <a:pt x="1487" y="336"/>
                  <a:pt x="1421" y="441"/>
                </a:cubicBezTo>
                <a:cubicBezTo>
                  <a:pt x="1375" y="514"/>
                  <a:pt x="1303" y="581"/>
                  <a:pt x="1207" y="642"/>
                </a:cubicBezTo>
                <a:cubicBezTo>
                  <a:pt x="1197" y="649"/>
                  <a:pt x="1190" y="659"/>
                  <a:pt x="1188" y="671"/>
                </a:cubicBezTo>
                <a:cubicBezTo>
                  <a:pt x="1185" y="696"/>
                  <a:pt x="1180" y="720"/>
                  <a:pt x="1173" y="744"/>
                </a:cubicBezTo>
                <a:cubicBezTo>
                  <a:pt x="1171" y="750"/>
                  <a:pt x="1166" y="754"/>
                  <a:pt x="1160" y="754"/>
                </a:cubicBezTo>
                <a:close/>
                <a:moveTo>
                  <a:pt x="285" y="450"/>
                </a:moveTo>
                <a:cubicBezTo>
                  <a:pt x="276" y="450"/>
                  <a:pt x="267" y="446"/>
                  <a:pt x="259" y="439"/>
                </a:cubicBezTo>
                <a:cubicBezTo>
                  <a:pt x="182" y="368"/>
                  <a:pt x="147" y="291"/>
                  <a:pt x="163" y="227"/>
                </a:cubicBezTo>
                <a:cubicBezTo>
                  <a:pt x="163" y="227"/>
                  <a:pt x="163" y="227"/>
                  <a:pt x="163" y="227"/>
                </a:cubicBezTo>
                <a:cubicBezTo>
                  <a:pt x="176" y="177"/>
                  <a:pt x="218" y="150"/>
                  <a:pt x="252" y="150"/>
                </a:cubicBezTo>
                <a:cubicBezTo>
                  <a:pt x="323" y="150"/>
                  <a:pt x="323" y="150"/>
                  <a:pt x="323" y="150"/>
                </a:cubicBezTo>
                <a:cubicBezTo>
                  <a:pt x="323" y="412"/>
                  <a:pt x="323" y="412"/>
                  <a:pt x="323" y="412"/>
                </a:cubicBezTo>
                <a:cubicBezTo>
                  <a:pt x="323" y="427"/>
                  <a:pt x="315" y="440"/>
                  <a:pt x="301" y="446"/>
                </a:cubicBezTo>
                <a:cubicBezTo>
                  <a:pt x="296" y="449"/>
                  <a:pt x="290" y="450"/>
                  <a:pt x="285" y="450"/>
                </a:cubicBezTo>
                <a:close/>
                <a:moveTo>
                  <a:pt x="191" y="234"/>
                </a:moveTo>
                <a:cubicBezTo>
                  <a:pt x="177" y="287"/>
                  <a:pt x="209" y="355"/>
                  <a:pt x="278" y="419"/>
                </a:cubicBezTo>
                <a:cubicBezTo>
                  <a:pt x="283" y="423"/>
                  <a:pt x="288" y="421"/>
                  <a:pt x="289" y="421"/>
                </a:cubicBezTo>
                <a:cubicBezTo>
                  <a:pt x="291" y="420"/>
                  <a:pt x="295" y="417"/>
                  <a:pt x="295" y="412"/>
                </a:cubicBezTo>
                <a:cubicBezTo>
                  <a:pt x="295" y="178"/>
                  <a:pt x="295" y="178"/>
                  <a:pt x="295" y="178"/>
                </a:cubicBezTo>
                <a:cubicBezTo>
                  <a:pt x="252" y="178"/>
                  <a:pt x="252" y="178"/>
                  <a:pt x="252" y="178"/>
                </a:cubicBezTo>
                <a:cubicBezTo>
                  <a:pt x="229" y="178"/>
                  <a:pt x="200" y="197"/>
                  <a:pt x="191" y="234"/>
                </a:cubicBezTo>
                <a:close/>
                <a:moveTo>
                  <a:pt x="1202" y="449"/>
                </a:moveTo>
                <a:cubicBezTo>
                  <a:pt x="1197" y="449"/>
                  <a:pt x="1192" y="448"/>
                  <a:pt x="1187" y="446"/>
                </a:cubicBezTo>
                <a:cubicBezTo>
                  <a:pt x="1173" y="440"/>
                  <a:pt x="1164" y="427"/>
                  <a:pt x="1164" y="411"/>
                </a:cubicBezTo>
                <a:cubicBezTo>
                  <a:pt x="1164" y="150"/>
                  <a:pt x="1164" y="150"/>
                  <a:pt x="1164" y="150"/>
                </a:cubicBezTo>
                <a:cubicBezTo>
                  <a:pt x="1235" y="150"/>
                  <a:pt x="1235" y="150"/>
                  <a:pt x="1235" y="150"/>
                </a:cubicBezTo>
                <a:cubicBezTo>
                  <a:pt x="1269" y="150"/>
                  <a:pt x="1310" y="177"/>
                  <a:pt x="1323" y="227"/>
                </a:cubicBezTo>
                <a:cubicBezTo>
                  <a:pt x="1339" y="291"/>
                  <a:pt x="1305" y="368"/>
                  <a:pt x="1228" y="439"/>
                </a:cubicBezTo>
                <a:cubicBezTo>
                  <a:pt x="1221" y="446"/>
                  <a:pt x="1211" y="449"/>
                  <a:pt x="1202" y="449"/>
                </a:cubicBezTo>
                <a:close/>
                <a:moveTo>
                  <a:pt x="1192" y="178"/>
                </a:moveTo>
                <a:cubicBezTo>
                  <a:pt x="1192" y="411"/>
                  <a:pt x="1192" y="411"/>
                  <a:pt x="1192" y="411"/>
                </a:cubicBezTo>
                <a:cubicBezTo>
                  <a:pt x="1192" y="417"/>
                  <a:pt x="1196" y="420"/>
                  <a:pt x="1198" y="420"/>
                </a:cubicBezTo>
                <a:cubicBezTo>
                  <a:pt x="1199" y="421"/>
                  <a:pt x="1204" y="423"/>
                  <a:pt x="1209" y="418"/>
                </a:cubicBezTo>
                <a:cubicBezTo>
                  <a:pt x="1278" y="354"/>
                  <a:pt x="1310" y="287"/>
                  <a:pt x="1296" y="234"/>
                </a:cubicBezTo>
                <a:cubicBezTo>
                  <a:pt x="1287" y="197"/>
                  <a:pt x="1258" y="178"/>
                  <a:pt x="1235" y="178"/>
                </a:cubicBezTo>
                <a:lnTo>
                  <a:pt x="1192" y="178"/>
                </a:lnTo>
                <a:close/>
                <a:moveTo>
                  <a:pt x="1165" y="28"/>
                </a:moveTo>
                <a:cubicBezTo>
                  <a:pt x="1055" y="28"/>
                  <a:pt x="1055" y="28"/>
                  <a:pt x="1055" y="28"/>
                </a:cubicBezTo>
                <a:cubicBezTo>
                  <a:pt x="1047" y="28"/>
                  <a:pt x="1041" y="22"/>
                  <a:pt x="1041" y="14"/>
                </a:cubicBezTo>
                <a:cubicBezTo>
                  <a:pt x="1041" y="6"/>
                  <a:pt x="1047" y="0"/>
                  <a:pt x="1055" y="0"/>
                </a:cubicBezTo>
                <a:cubicBezTo>
                  <a:pt x="1165" y="0"/>
                  <a:pt x="1165" y="0"/>
                  <a:pt x="1165" y="0"/>
                </a:cubicBezTo>
                <a:cubicBezTo>
                  <a:pt x="1173" y="0"/>
                  <a:pt x="1179" y="6"/>
                  <a:pt x="1179" y="14"/>
                </a:cubicBezTo>
                <a:cubicBezTo>
                  <a:pt x="1179" y="22"/>
                  <a:pt x="1173" y="28"/>
                  <a:pt x="1165" y="28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4" name="Rectangle 43"/>
          <p:cNvSpPr/>
          <p:nvPr/>
        </p:nvSpPr>
        <p:spPr>
          <a:xfrm flipH="1">
            <a:off x="7183351" y="978221"/>
            <a:ext cx="3639463" cy="411022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9900" b="1" kern="0" cap="all" dirty="0">
                <a:solidFill>
                  <a:prstClr val="white">
                    <a:alpha val="50000"/>
                  </a:prstClr>
                </a:solidFill>
                <a:latin typeface="Source Sans Pro Black" charset="0"/>
                <a:ea typeface="Source Sans Pro Black" charset="0"/>
                <a:cs typeface="Source Sans Pro Black" charset="0"/>
              </a:rPr>
              <a:t>7</a:t>
            </a:r>
            <a:endParaRPr kumimoji="0" lang="lt-LT" sz="19900" b="1" i="0" u="none" strike="noStrike" kern="0" cap="all" spc="0" normalizeH="0" baseline="0" noProof="0" dirty="0">
              <a:ln>
                <a:noFill/>
              </a:ln>
              <a:solidFill>
                <a:prstClr val="white">
                  <a:alpha val="50000"/>
                </a:prstClr>
              </a:solidFill>
              <a:effectLst/>
              <a:uLnTx/>
              <a:uFillTx/>
              <a:latin typeface="Source Sans Pro Black" charset="0"/>
              <a:ea typeface="Source Sans Pro Black" charset="0"/>
              <a:cs typeface="Source Sans Pro Blac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5967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66" name="Content Placeholder 15">
            <a:extLst>
              <a:ext uri="{FF2B5EF4-FFF2-40B4-BE49-F238E27FC236}">
                <a16:creationId xmlns:a16="http://schemas.microsoft.com/office/drawing/2014/main" id="{17C7D2AA-5855-4FAB-9565-361243A59664}"/>
              </a:ext>
            </a:extLst>
          </p:cNvPr>
          <p:cNvSpPr txBox="1">
            <a:spLocks/>
          </p:cNvSpPr>
          <p:nvPr/>
        </p:nvSpPr>
        <p:spPr>
          <a:xfrm>
            <a:off x="8454452" y="358947"/>
            <a:ext cx="3582650" cy="442532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r>
              <a:rPr lang="ar-SA" altLang="ko-KR" sz="9600" dirty="0">
                <a:solidFill>
                  <a:srgbClr val="FFC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الواجب</a:t>
            </a:r>
          </a:p>
          <a:p>
            <a:pPr algn="r" rtl="1"/>
            <a:endParaRPr lang="ar-SA" altLang="ko-KR" sz="9600" dirty="0">
              <a:solidFill>
                <a:srgbClr val="FFC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r>
              <a:rPr lang="ar-SA" altLang="ko-KR" sz="4400" dirty="0">
                <a:solidFill>
                  <a:srgbClr val="FFC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</a:t>
            </a:r>
            <a:r>
              <a:rPr lang="ar-SA" altLang="ko-KR" dirty="0">
                <a:solidFill>
                  <a:srgbClr val="FFC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التدريب 3 ص  104</a:t>
            </a:r>
            <a:endParaRPr lang="ar-SA" altLang="ko-KR" sz="9600" dirty="0">
              <a:solidFill>
                <a:srgbClr val="FFC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r>
              <a:rPr lang="ar-SA" altLang="ko-KR" sz="3200" dirty="0">
                <a:solidFill>
                  <a:srgbClr val="FFC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</a:t>
            </a:r>
          </a:p>
          <a:p>
            <a:pPr algn="r" rtl="1"/>
            <a:endParaRPr lang="ko-KR" altLang="en-US" sz="3200" dirty="0">
              <a:solidFill>
                <a:srgbClr val="FFC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BE5BC24-23F8-46AC-8300-D4EC4D70DE63}"/>
              </a:ext>
            </a:extLst>
          </p:cNvPr>
          <p:cNvSpPr/>
          <p:nvPr/>
        </p:nvSpPr>
        <p:spPr>
          <a:xfrm flipH="1">
            <a:off x="2947341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3560F69-CA01-4BA0-A461-FB3A55271037}"/>
              </a:ext>
            </a:extLst>
          </p:cNvPr>
          <p:cNvSpPr/>
          <p:nvPr/>
        </p:nvSpPr>
        <p:spPr>
          <a:xfrm flipH="1" flipV="1">
            <a:off x="8735786" y="2058891"/>
            <a:ext cx="3301316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endParaRPr lang="en-US" sz="1100" dirty="0">
              <a:solidFill>
                <a:schemeClr val="accent3"/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11" name="Content Placeholder 15">
            <a:extLst>
              <a:ext uri="{FF2B5EF4-FFF2-40B4-BE49-F238E27FC236}">
                <a16:creationId xmlns:a16="http://schemas.microsoft.com/office/drawing/2014/main" id="{17C7D2AA-5855-4FAB-9565-361243A59664}"/>
              </a:ext>
            </a:extLst>
          </p:cNvPr>
          <p:cNvSpPr txBox="1">
            <a:spLocks/>
          </p:cNvSpPr>
          <p:nvPr/>
        </p:nvSpPr>
        <p:spPr>
          <a:xfrm>
            <a:off x="516901" y="4106067"/>
            <a:ext cx="7693572" cy="1119353"/>
          </a:xfrm>
          <a:prstGeom prst="rect">
            <a:avLst/>
          </a:prstGeom>
        </p:spPr>
        <p:txBody>
          <a:bodyPr lIns="0" tIns="0" rIns="0" bIns="0">
            <a:normAutofit fontScale="40000" lnSpcReduction="20000"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/>
            <a:r>
              <a:rPr lang="ar-SA" altLang="ko-KR" sz="9600" b="1" dirty="0">
                <a:solidFill>
                  <a:srgbClr val="C00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قومي بكتابة الكود البرمجي  وإرساله كصورة مع النتيجة  عبر الواجب في منصة مدرستي  </a:t>
            </a:r>
          </a:p>
          <a:p>
            <a:pPr algn="ctr" rtl="1"/>
            <a:r>
              <a:rPr lang="ar-SA" altLang="ko-KR" sz="3200" b="1" dirty="0">
                <a:solidFill>
                  <a:srgbClr val="C00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</a:t>
            </a:r>
          </a:p>
          <a:p>
            <a:pPr algn="ctr" rtl="1"/>
            <a:endParaRPr lang="ko-KR" altLang="en-US" sz="3200" b="1" dirty="0">
              <a:solidFill>
                <a:srgbClr val="C00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pic>
        <p:nvPicPr>
          <p:cNvPr id="5" name="صورة 4">
            <a:extLst>
              <a:ext uri="{FF2B5EF4-FFF2-40B4-BE49-F238E27FC236}">
                <a16:creationId xmlns:a16="http://schemas.microsoft.com/office/drawing/2014/main" id="{DA2E36AB-3E3B-68A2-82BC-DEBBFD070AD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16977" y="254794"/>
            <a:ext cx="6800850" cy="3333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902859"/>
      </p:ext>
    </p:extLst>
  </p:cSld>
  <p:clrMapOvr>
    <a:masterClrMapping/>
  </p:clrMapOvr>
  <p:transition spd="slow">
    <p:wip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" t="12192" r="354" b="4034"/>
          <a:stretch/>
        </p:blipFill>
        <p:spPr/>
      </p:pic>
      <p:sp>
        <p:nvSpPr>
          <p:cNvPr id="24" name="Rectangle 23"/>
          <p:cNvSpPr/>
          <p:nvPr/>
        </p:nvSpPr>
        <p:spPr>
          <a:xfrm flipH="1">
            <a:off x="0" y="-8549"/>
            <a:ext cx="4813310" cy="6866549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t-LT" sz="3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25" name="Rectangle 24"/>
          <p:cNvSpPr/>
          <p:nvPr/>
        </p:nvSpPr>
        <p:spPr>
          <a:xfrm flipH="1">
            <a:off x="405234" y="3599185"/>
            <a:ext cx="4243980" cy="67710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44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 Jannat LT" panose="01000000000000000000" pitchFamily="2" charset="-78"/>
                <a:ea typeface="+mn-ea"/>
                <a:cs typeface="A Jannat LT" panose="01000000000000000000" pitchFamily="2" charset="-78"/>
              </a:rPr>
              <a:t>اشراقة الصباح</a:t>
            </a:r>
          </a:p>
        </p:txBody>
      </p:sp>
      <p:sp>
        <p:nvSpPr>
          <p:cNvPr id="59" name="Rectangle 58"/>
          <p:cNvSpPr/>
          <p:nvPr/>
        </p:nvSpPr>
        <p:spPr>
          <a:xfrm>
            <a:off x="365794" y="326495"/>
            <a:ext cx="5258752" cy="5886943"/>
          </a:xfrm>
          <a:prstGeom prst="rect">
            <a:avLst/>
          </a:prstGeom>
          <a:noFill/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>
            <a:off x="3553143" y="1503563"/>
            <a:ext cx="72778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val 41"/>
          <p:cNvSpPr/>
          <p:nvPr/>
        </p:nvSpPr>
        <p:spPr>
          <a:xfrm>
            <a:off x="7566223" y="1984881"/>
            <a:ext cx="2876544" cy="2876544"/>
          </a:xfrm>
          <a:prstGeom prst="ellipse">
            <a:avLst/>
          </a:prstGeom>
          <a:noFill/>
          <a:ln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3" name="Oval 32"/>
          <p:cNvSpPr/>
          <p:nvPr/>
        </p:nvSpPr>
        <p:spPr>
          <a:xfrm>
            <a:off x="7521610" y="1940268"/>
            <a:ext cx="2965768" cy="2965768"/>
          </a:xfrm>
          <a:prstGeom prst="ellipse">
            <a:avLst/>
          </a:prstGeom>
          <a:noFill/>
          <a:ln w="317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7396887" y="2379990"/>
            <a:ext cx="666045" cy="66604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4" name="Oval 33"/>
          <p:cNvSpPr/>
          <p:nvPr/>
        </p:nvSpPr>
        <p:spPr>
          <a:xfrm>
            <a:off x="7339912" y="3203019"/>
            <a:ext cx="384884" cy="38488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5" name="Oval 34"/>
          <p:cNvSpPr/>
          <p:nvPr/>
        </p:nvSpPr>
        <p:spPr>
          <a:xfrm>
            <a:off x="7944038" y="2116156"/>
            <a:ext cx="297701" cy="2977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6" name="Oval 35"/>
          <p:cNvSpPr/>
          <p:nvPr/>
        </p:nvSpPr>
        <p:spPr>
          <a:xfrm>
            <a:off x="9781393" y="4242129"/>
            <a:ext cx="474373" cy="47437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7" name="Oval 36"/>
          <p:cNvSpPr/>
          <p:nvPr/>
        </p:nvSpPr>
        <p:spPr>
          <a:xfrm>
            <a:off x="10169141" y="4011741"/>
            <a:ext cx="278538" cy="27853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8" name="Oval 37"/>
          <p:cNvSpPr/>
          <p:nvPr/>
        </p:nvSpPr>
        <p:spPr>
          <a:xfrm>
            <a:off x="9632542" y="2064962"/>
            <a:ext cx="297701" cy="2977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9" name="Oval 38"/>
          <p:cNvSpPr/>
          <p:nvPr/>
        </p:nvSpPr>
        <p:spPr>
          <a:xfrm>
            <a:off x="9958065" y="2297680"/>
            <a:ext cx="164620" cy="16462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0" name="Oval 39"/>
          <p:cNvSpPr/>
          <p:nvPr/>
        </p:nvSpPr>
        <p:spPr>
          <a:xfrm>
            <a:off x="8159429" y="4589036"/>
            <a:ext cx="164620" cy="16462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1" name="Oval 40"/>
          <p:cNvSpPr/>
          <p:nvPr/>
        </p:nvSpPr>
        <p:spPr>
          <a:xfrm>
            <a:off x="8357684" y="4512788"/>
            <a:ext cx="658099" cy="6580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8" name="Freeform 13"/>
          <p:cNvSpPr>
            <a:spLocks noEditPoints="1"/>
          </p:cNvSpPr>
          <p:nvPr/>
        </p:nvSpPr>
        <p:spPr bwMode="auto">
          <a:xfrm>
            <a:off x="3988167" y="5269688"/>
            <a:ext cx="687257" cy="776288"/>
          </a:xfrm>
          <a:custGeom>
            <a:avLst/>
            <a:gdLst>
              <a:gd name="T0" fmla="*/ 435 w 1487"/>
              <a:gd name="T1" fmla="*/ 1680 h 1680"/>
              <a:gd name="T2" fmla="*/ 346 w 1487"/>
              <a:gd name="T3" fmla="*/ 1283 h 1680"/>
              <a:gd name="T4" fmla="*/ 627 w 1487"/>
              <a:gd name="T5" fmla="*/ 1194 h 1680"/>
              <a:gd name="T6" fmla="*/ 654 w 1487"/>
              <a:gd name="T7" fmla="*/ 1074 h 1680"/>
              <a:gd name="T8" fmla="*/ 299 w 1487"/>
              <a:gd name="T9" fmla="*/ 672 h 1680"/>
              <a:gd name="T10" fmla="*/ 66 w 1487"/>
              <a:gd name="T11" fmla="*/ 441 h 1680"/>
              <a:gd name="T12" fmla="*/ 252 w 1487"/>
              <a:gd name="T13" fmla="*/ 0 h 1680"/>
              <a:gd name="T14" fmla="*/ 979 w 1487"/>
              <a:gd name="T15" fmla="*/ 14 h 1680"/>
              <a:gd name="T16" fmla="*/ 252 w 1487"/>
              <a:gd name="T17" fmla="*/ 28 h 1680"/>
              <a:gd name="T18" fmla="*/ 90 w 1487"/>
              <a:gd name="T19" fmla="*/ 426 h 1680"/>
              <a:gd name="T20" fmla="*/ 327 w 1487"/>
              <a:gd name="T21" fmla="*/ 668 h 1680"/>
              <a:gd name="T22" fmla="*/ 682 w 1487"/>
              <a:gd name="T23" fmla="*/ 1074 h 1680"/>
              <a:gd name="T24" fmla="*/ 627 w 1487"/>
              <a:gd name="T25" fmla="*/ 1222 h 1680"/>
              <a:gd name="T26" fmla="*/ 374 w 1487"/>
              <a:gd name="T27" fmla="*/ 1283 h 1680"/>
              <a:gd name="T28" fmla="*/ 435 w 1487"/>
              <a:gd name="T29" fmla="*/ 1652 h 1680"/>
              <a:gd name="T30" fmla="*/ 1113 w 1487"/>
              <a:gd name="T31" fmla="*/ 1591 h 1680"/>
              <a:gd name="T32" fmla="*/ 1051 w 1487"/>
              <a:gd name="T33" fmla="*/ 1222 h 1680"/>
              <a:gd name="T34" fmla="*/ 804 w 1487"/>
              <a:gd name="T35" fmla="*/ 1167 h 1680"/>
              <a:gd name="T36" fmla="*/ 845 w 1487"/>
              <a:gd name="T37" fmla="*/ 1024 h 1680"/>
              <a:gd name="T38" fmla="*/ 1005 w 1487"/>
              <a:gd name="T39" fmla="*/ 963 h 1680"/>
              <a:gd name="T40" fmla="*/ 851 w 1487"/>
              <a:gd name="T41" fmla="*/ 1051 h 1680"/>
              <a:gd name="T42" fmla="*/ 832 w 1487"/>
              <a:gd name="T43" fmla="*/ 1167 h 1680"/>
              <a:gd name="T44" fmla="*/ 1051 w 1487"/>
              <a:gd name="T45" fmla="*/ 1194 h 1680"/>
              <a:gd name="T46" fmla="*/ 1141 w 1487"/>
              <a:gd name="T47" fmla="*/ 1591 h 1680"/>
              <a:gd name="T48" fmla="*/ 1109 w 1487"/>
              <a:gd name="T49" fmla="*/ 864 h 1680"/>
              <a:gd name="T50" fmla="*/ 1097 w 1487"/>
              <a:gd name="T51" fmla="*/ 842 h 1680"/>
              <a:gd name="T52" fmla="*/ 1140 w 1487"/>
              <a:gd name="T53" fmla="*/ 793 h 1680"/>
              <a:gd name="T54" fmla="*/ 1121 w 1487"/>
              <a:gd name="T55" fmla="*/ 857 h 1680"/>
              <a:gd name="T56" fmla="*/ 1160 w 1487"/>
              <a:gd name="T57" fmla="*/ 754 h 1680"/>
              <a:gd name="T58" fmla="*/ 1146 w 1487"/>
              <a:gd name="T59" fmla="*/ 736 h 1680"/>
              <a:gd name="T60" fmla="*/ 1192 w 1487"/>
              <a:gd name="T61" fmla="*/ 618 h 1680"/>
              <a:gd name="T62" fmla="*/ 1442 w 1487"/>
              <a:gd name="T63" fmla="*/ 197 h 1680"/>
              <a:gd name="T64" fmla="*/ 1235 w 1487"/>
              <a:gd name="T65" fmla="*/ 28 h 1680"/>
              <a:gd name="T66" fmla="*/ 1235 w 1487"/>
              <a:gd name="T67" fmla="*/ 0 h 1680"/>
              <a:gd name="T68" fmla="*/ 1469 w 1487"/>
              <a:gd name="T69" fmla="*/ 190 h 1680"/>
              <a:gd name="T70" fmla="*/ 1207 w 1487"/>
              <a:gd name="T71" fmla="*/ 642 h 1680"/>
              <a:gd name="T72" fmla="*/ 1173 w 1487"/>
              <a:gd name="T73" fmla="*/ 744 h 1680"/>
              <a:gd name="T74" fmla="*/ 285 w 1487"/>
              <a:gd name="T75" fmla="*/ 450 h 1680"/>
              <a:gd name="T76" fmla="*/ 163 w 1487"/>
              <a:gd name="T77" fmla="*/ 227 h 1680"/>
              <a:gd name="T78" fmla="*/ 252 w 1487"/>
              <a:gd name="T79" fmla="*/ 150 h 1680"/>
              <a:gd name="T80" fmla="*/ 323 w 1487"/>
              <a:gd name="T81" fmla="*/ 412 h 1680"/>
              <a:gd name="T82" fmla="*/ 285 w 1487"/>
              <a:gd name="T83" fmla="*/ 450 h 1680"/>
              <a:gd name="T84" fmla="*/ 278 w 1487"/>
              <a:gd name="T85" fmla="*/ 419 h 1680"/>
              <a:gd name="T86" fmla="*/ 295 w 1487"/>
              <a:gd name="T87" fmla="*/ 412 h 1680"/>
              <a:gd name="T88" fmla="*/ 252 w 1487"/>
              <a:gd name="T89" fmla="*/ 178 h 1680"/>
              <a:gd name="T90" fmla="*/ 1202 w 1487"/>
              <a:gd name="T91" fmla="*/ 449 h 1680"/>
              <a:gd name="T92" fmla="*/ 1164 w 1487"/>
              <a:gd name="T93" fmla="*/ 411 h 1680"/>
              <a:gd name="T94" fmla="*/ 1235 w 1487"/>
              <a:gd name="T95" fmla="*/ 150 h 1680"/>
              <a:gd name="T96" fmla="*/ 1228 w 1487"/>
              <a:gd name="T97" fmla="*/ 439 h 1680"/>
              <a:gd name="T98" fmla="*/ 1192 w 1487"/>
              <a:gd name="T99" fmla="*/ 178 h 1680"/>
              <a:gd name="T100" fmla="*/ 1198 w 1487"/>
              <a:gd name="T101" fmla="*/ 420 h 1680"/>
              <a:gd name="T102" fmla="*/ 1296 w 1487"/>
              <a:gd name="T103" fmla="*/ 234 h 1680"/>
              <a:gd name="T104" fmla="*/ 1192 w 1487"/>
              <a:gd name="T105" fmla="*/ 178 h 1680"/>
              <a:gd name="T106" fmla="*/ 1055 w 1487"/>
              <a:gd name="T107" fmla="*/ 28 h 1680"/>
              <a:gd name="T108" fmla="*/ 1055 w 1487"/>
              <a:gd name="T109" fmla="*/ 0 h 1680"/>
              <a:gd name="T110" fmla="*/ 1179 w 1487"/>
              <a:gd name="T111" fmla="*/ 14 h 1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487" h="1680">
                <a:moveTo>
                  <a:pt x="1051" y="1680"/>
                </a:moveTo>
                <a:cubicBezTo>
                  <a:pt x="435" y="1680"/>
                  <a:pt x="435" y="1680"/>
                  <a:pt x="435" y="1680"/>
                </a:cubicBezTo>
                <a:cubicBezTo>
                  <a:pt x="386" y="1680"/>
                  <a:pt x="346" y="1640"/>
                  <a:pt x="346" y="1591"/>
                </a:cubicBezTo>
                <a:cubicBezTo>
                  <a:pt x="346" y="1283"/>
                  <a:pt x="346" y="1283"/>
                  <a:pt x="346" y="1283"/>
                </a:cubicBezTo>
                <a:cubicBezTo>
                  <a:pt x="346" y="1234"/>
                  <a:pt x="386" y="1194"/>
                  <a:pt x="435" y="1194"/>
                </a:cubicBezTo>
                <a:cubicBezTo>
                  <a:pt x="627" y="1194"/>
                  <a:pt x="627" y="1194"/>
                  <a:pt x="627" y="1194"/>
                </a:cubicBezTo>
                <a:cubicBezTo>
                  <a:pt x="642" y="1194"/>
                  <a:pt x="654" y="1182"/>
                  <a:pt x="654" y="1167"/>
                </a:cubicBezTo>
                <a:cubicBezTo>
                  <a:pt x="654" y="1074"/>
                  <a:pt x="654" y="1074"/>
                  <a:pt x="654" y="1074"/>
                </a:cubicBezTo>
                <a:cubicBezTo>
                  <a:pt x="654" y="1063"/>
                  <a:pt x="647" y="1053"/>
                  <a:pt x="635" y="1051"/>
                </a:cubicBezTo>
                <a:cubicBezTo>
                  <a:pt x="457" y="1006"/>
                  <a:pt x="322" y="854"/>
                  <a:pt x="299" y="672"/>
                </a:cubicBezTo>
                <a:cubicBezTo>
                  <a:pt x="298" y="660"/>
                  <a:pt x="291" y="649"/>
                  <a:pt x="280" y="643"/>
                </a:cubicBezTo>
                <a:cubicBezTo>
                  <a:pt x="184" y="582"/>
                  <a:pt x="111" y="514"/>
                  <a:pt x="66" y="441"/>
                </a:cubicBezTo>
                <a:cubicBezTo>
                  <a:pt x="0" y="336"/>
                  <a:pt x="4" y="247"/>
                  <a:pt x="18" y="190"/>
                </a:cubicBezTo>
                <a:cubicBezTo>
                  <a:pt x="47" y="78"/>
                  <a:pt x="143" y="0"/>
                  <a:pt x="252" y="0"/>
                </a:cubicBezTo>
                <a:cubicBezTo>
                  <a:pt x="965" y="0"/>
                  <a:pt x="965" y="0"/>
                  <a:pt x="965" y="0"/>
                </a:cubicBezTo>
                <a:cubicBezTo>
                  <a:pt x="973" y="0"/>
                  <a:pt x="979" y="6"/>
                  <a:pt x="979" y="14"/>
                </a:cubicBezTo>
                <a:cubicBezTo>
                  <a:pt x="979" y="22"/>
                  <a:pt x="973" y="28"/>
                  <a:pt x="965" y="28"/>
                </a:cubicBezTo>
                <a:cubicBezTo>
                  <a:pt x="252" y="28"/>
                  <a:pt x="252" y="28"/>
                  <a:pt x="252" y="28"/>
                </a:cubicBezTo>
                <a:cubicBezTo>
                  <a:pt x="156" y="28"/>
                  <a:pt x="71" y="98"/>
                  <a:pt x="45" y="197"/>
                </a:cubicBezTo>
                <a:cubicBezTo>
                  <a:pt x="32" y="248"/>
                  <a:pt x="29" y="330"/>
                  <a:pt x="90" y="426"/>
                </a:cubicBezTo>
                <a:cubicBezTo>
                  <a:pt x="133" y="495"/>
                  <a:pt x="202" y="560"/>
                  <a:pt x="295" y="619"/>
                </a:cubicBezTo>
                <a:cubicBezTo>
                  <a:pt x="313" y="630"/>
                  <a:pt x="324" y="648"/>
                  <a:pt x="327" y="668"/>
                </a:cubicBezTo>
                <a:cubicBezTo>
                  <a:pt x="348" y="839"/>
                  <a:pt x="475" y="982"/>
                  <a:pt x="642" y="1023"/>
                </a:cubicBezTo>
                <a:cubicBezTo>
                  <a:pt x="666" y="1029"/>
                  <a:pt x="682" y="1050"/>
                  <a:pt x="682" y="1074"/>
                </a:cubicBezTo>
                <a:cubicBezTo>
                  <a:pt x="682" y="1167"/>
                  <a:pt x="682" y="1167"/>
                  <a:pt x="682" y="1167"/>
                </a:cubicBezTo>
                <a:cubicBezTo>
                  <a:pt x="682" y="1197"/>
                  <a:pt x="658" y="1222"/>
                  <a:pt x="627" y="1222"/>
                </a:cubicBezTo>
                <a:cubicBezTo>
                  <a:pt x="435" y="1222"/>
                  <a:pt x="435" y="1222"/>
                  <a:pt x="435" y="1222"/>
                </a:cubicBezTo>
                <a:cubicBezTo>
                  <a:pt x="402" y="1222"/>
                  <a:pt x="374" y="1249"/>
                  <a:pt x="374" y="1283"/>
                </a:cubicBezTo>
                <a:cubicBezTo>
                  <a:pt x="374" y="1591"/>
                  <a:pt x="374" y="1591"/>
                  <a:pt x="374" y="1591"/>
                </a:cubicBezTo>
                <a:cubicBezTo>
                  <a:pt x="374" y="1625"/>
                  <a:pt x="402" y="1652"/>
                  <a:pt x="435" y="1652"/>
                </a:cubicBezTo>
                <a:cubicBezTo>
                  <a:pt x="1051" y="1652"/>
                  <a:pt x="1051" y="1652"/>
                  <a:pt x="1051" y="1652"/>
                </a:cubicBezTo>
                <a:cubicBezTo>
                  <a:pt x="1085" y="1652"/>
                  <a:pt x="1113" y="1625"/>
                  <a:pt x="1113" y="1591"/>
                </a:cubicBezTo>
                <a:cubicBezTo>
                  <a:pt x="1113" y="1283"/>
                  <a:pt x="1113" y="1283"/>
                  <a:pt x="1113" y="1283"/>
                </a:cubicBezTo>
                <a:cubicBezTo>
                  <a:pt x="1113" y="1249"/>
                  <a:pt x="1085" y="1222"/>
                  <a:pt x="1051" y="1222"/>
                </a:cubicBezTo>
                <a:cubicBezTo>
                  <a:pt x="860" y="1222"/>
                  <a:pt x="860" y="1222"/>
                  <a:pt x="860" y="1222"/>
                </a:cubicBezTo>
                <a:cubicBezTo>
                  <a:pt x="829" y="1222"/>
                  <a:pt x="804" y="1197"/>
                  <a:pt x="804" y="1167"/>
                </a:cubicBezTo>
                <a:cubicBezTo>
                  <a:pt x="804" y="1075"/>
                  <a:pt x="804" y="1075"/>
                  <a:pt x="804" y="1075"/>
                </a:cubicBezTo>
                <a:cubicBezTo>
                  <a:pt x="804" y="1050"/>
                  <a:pt x="821" y="1029"/>
                  <a:pt x="845" y="1024"/>
                </a:cubicBezTo>
                <a:cubicBezTo>
                  <a:pt x="895" y="1011"/>
                  <a:pt x="942" y="990"/>
                  <a:pt x="985" y="960"/>
                </a:cubicBezTo>
                <a:cubicBezTo>
                  <a:pt x="991" y="955"/>
                  <a:pt x="1000" y="957"/>
                  <a:pt x="1005" y="963"/>
                </a:cubicBezTo>
                <a:cubicBezTo>
                  <a:pt x="1009" y="969"/>
                  <a:pt x="1007" y="978"/>
                  <a:pt x="1001" y="982"/>
                </a:cubicBezTo>
                <a:cubicBezTo>
                  <a:pt x="956" y="1014"/>
                  <a:pt x="905" y="1037"/>
                  <a:pt x="851" y="1051"/>
                </a:cubicBezTo>
                <a:cubicBezTo>
                  <a:pt x="840" y="1054"/>
                  <a:pt x="832" y="1063"/>
                  <a:pt x="832" y="1075"/>
                </a:cubicBezTo>
                <a:cubicBezTo>
                  <a:pt x="832" y="1167"/>
                  <a:pt x="832" y="1167"/>
                  <a:pt x="832" y="1167"/>
                </a:cubicBezTo>
                <a:cubicBezTo>
                  <a:pt x="832" y="1182"/>
                  <a:pt x="845" y="1194"/>
                  <a:pt x="860" y="1194"/>
                </a:cubicBezTo>
                <a:cubicBezTo>
                  <a:pt x="1051" y="1194"/>
                  <a:pt x="1051" y="1194"/>
                  <a:pt x="1051" y="1194"/>
                </a:cubicBezTo>
                <a:cubicBezTo>
                  <a:pt x="1101" y="1194"/>
                  <a:pt x="1141" y="1234"/>
                  <a:pt x="1141" y="1283"/>
                </a:cubicBezTo>
                <a:cubicBezTo>
                  <a:pt x="1141" y="1591"/>
                  <a:pt x="1141" y="1591"/>
                  <a:pt x="1141" y="1591"/>
                </a:cubicBezTo>
                <a:cubicBezTo>
                  <a:pt x="1141" y="1640"/>
                  <a:pt x="1101" y="1680"/>
                  <a:pt x="1051" y="1680"/>
                </a:cubicBezTo>
                <a:close/>
                <a:moveTo>
                  <a:pt x="1109" y="864"/>
                </a:moveTo>
                <a:cubicBezTo>
                  <a:pt x="1107" y="864"/>
                  <a:pt x="1104" y="863"/>
                  <a:pt x="1102" y="862"/>
                </a:cubicBezTo>
                <a:cubicBezTo>
                  <a:pt x="1095" y="858"/>
                  <a:pt x="1093" y="849"/>
                  <a:pt x="1097" y="842"/>
                </a:cubicBezTo>
                <a:cubicBezTo>
                  <a:pt x="1106" y="828"/>
                  <a:pt x="1115" y="814"/>
                  <a:pt x="1122" y="799"/>
                </a:cubicBezTo>
                <a:cubicBezTo>
                  <a:pt x="1125" y="792"/>
                  <a:pt x="1134" y="789"/>
                  <a:pt x="1140" y="793"/>
                </a:cubicBezTo>
                <a:cubicBezTo>
                  <a:pt x="1147" y="796"/>
                  <a:pt x="1150" y="804"/>
                  <a:pt x="1147" y="811"/>
                </a:cubicBezTo>
                <a:cubicBezTo>
                  <a:pt x="1139" y="827"/>
                  <a:pt x="1130" y="843"/>
                  <a:pt x="1121" y="857"/>
                </a:cubicBezTo>
                <a:cubicBezTo>
                  <a:pt x="1118" y="862"/>
                  <a:pt x="1114" y="864"/>
                  <a:pt x="1109" y="864"/>
                </a:cubicBezTo>
                <a:close/>
                <a:moveTo>
                  <a:pt x="1160" y="754"/>
                </a:moveTo>
                <a:cubicBezTo>
                  <a:pt x="1159" y="754"/>
                  <a:pt x="1157" y="754"/>
                  <a:pt x="1156" y="753"/>
                </a:cubicBezTo>
                <a:cubicBezTo>
                  <a:pt x="1148" y="751"/>
                  <a:pt x="1144" y="743"/>
                  <a:pt x="1146" y="736"/>
                </a:cubicBezTo>
                <a:cubicBezTo>
                  <a:pt x="1153" y="714"/>
                  <a:pt x="1158" y="691"/>
                  <a:pt x="1161" y="668"/>
                </a:cubicBezTo>
                <a:cubicBezTo>
                  <a:pt x="1163" y="647"/>
                  <a:pt x="1175" y="629"/>
                  <a:pt x="1192" y="618"/>
                </a:cubicBezTo>
                <a:cubicBezTo>
                  <a:pt x="1285" y="560"/>
                  <a:pt x="1354" y="495"/>
                  <a:pt x="1397" y="426"/>
                </a:cubicBezTo>
                <a:cubicBezTo>
                  <a:pt x="1458" y="330"/>
                  <a:pt x="1455" y="248"/>
                  <a:pt x="1442" y="197"/>
                </a:cubicBezTo>
                <a:cubicBezTo>
                  <a:pt x="1421" y="118"/>
                  <a:pt x="1362" y="55"/>
                  <a:pt x="1287" y="35"/>
                </a:cubicBezTo>
                <a:cubicBezTo>
                  <a:pt x="1270" y="30"/>
                  <a:pt x="1252" y="28"/>
                  <a:pt x="1235" y="28"/>
                </a:cubicBezTo>
                <a:cubicBezTo>
                  <a:pt x="1227" y="28"/>
                  <a:pt x="1221" y="22"/>
                  <a:pt x="1221" y="14"/>
                </a:cubicBezTo>
                <a:cubicBezTo>
                  <a:pt x="1221" y="6"/>
                  <a:pt x="1227" y="0"/>
                  <a:pt x="1235" y="0"/>
                </a:cubicBezTo>
                <a:cubicBezTo>
                  <a:pt x="1255" y="0"/>
                  <a:pt x="1275" y="3"/>
                  <a:pt x="1294" y="8"/>
                </a:cubicBezTo>
                <a:cubicBezTo>
                  <a:pt x="1379" y="31"/>
                  <a:pt x="1446" y="101"/>
                  <a:pt x="1469" y="190"/>
                </a:cubicBezTo>
                <a:cubicBezTo>
                  <a:pt x="1483" y="247"/>
                  <a:pt x="1487" y="336"/>
                  <a:pt x="1421" y="441"/>
                </a:cubicBezTo>
                <a:cubicBezTo>
                  <a:pt x="1375" y="514"/>
                  <a:pt x="1303" y="581"/>
                  <a:pt x="1207" y="642"/>
                </a:cubicBezTo>
                <a:cubicBezTo>
                  <a:pt x="1197" y="649"/>
                  <a:pt x="1190" y="659"/>
                  <a:pt x="1188" y="671"/>
                </a:cubicBezTo>
                <a:cubicBezTo>
                  <a:pt x="1185" y="696"/>
                  <a:pt x="1180" y="720"/>
                  <a:pt x="1173" y="744"/>
                </a:cubicBezTo>
                <a:cubicBezTo>
                  <a:pt x="1171" y="750"/>
                  <a:pt x="1166" y="754"/>
                  <a:pt x="1160" y="754"/>
                </a:cubicBezTo>
                <a:close/>
                <a:moveTo>
                  <a:pt x="285" y="450"/>
                </a:moveTo>
                <a:cubicBezTo>
                  <a:pt x="276" y="450"/>
                  <a:pt x="267" y="446"/>
                  <a:pt x="259" y="439"/>
                </a:cubicBezTo>
                <a:cubicBezTo>
                  <a:pt x="182" y="368"/>
                  <a:pt x="147" y="291"/>
                  <a:pt x="163" y="227"/>
                </a:cubicBezTo>
                <a:cubicBezTo>
                  <a:pt x="163" y="227"/>
                  <a:pt x="163" y="227"/>
                  <a:pt x="163" y="227"/>
                </a:cubicBezTo>
                <a:cubicBezTo>
                  <a:pt x="176" y="177"/>
                  <a:pt x="218" y="150"/>
                  <a:pt x="252" y="150"/>
                </a:cubicBezTo>
                <a:cubicBezTo>
                  <a:pt x="323" y="150"/>
                  <a:pt x="323" y="150"/>
                  <a:pt x="323" y="150"/>
                </a:cubicBezTo>
                <a:cubicBezTo>
                  <a:pt x="323" y="412"/>
                  <a:pt x="323" y="412"/>
                  <a:pt x="323" y="412"/>
                </a:cubicBezTo>
                <a:cubicBezTo>
                  <a:pt x="323" y="427"/>
                  <a:pt x="315" y="440"/>
                  <a:pt x="301" y="446"/>
                </a:cubicBezTo>
                <a:cubicBezTo>
                  <a:pt x="296" y="449"/>
                  <a:pt x="290" y="450"/>
                  <a:pt x="285" y="450"/>
                </a:cubicBezTo>
                <a:close/>
                <a:moveTo>
                  <a:pt x="191" y="234"/>
                </a:moveTo>
                <a:cubicBezTo>
                  <a:pt x="177" y="287"/>
                  <a:pt x="209" y="355"/>
                  <a:pt x="278" y="419"/>
                </a:cubicBezTo>
                <a:cubicBezTo>
                  <a:pt x="283" y="423"/>
                  <a:pt x="288" y="421"/>
                  <a:pt x="289" y="421"/>
                </a:cubicBezTo>
                <a:cubicBezTo>
                  <a:pt x="291" y="420"/>
                  <a:pt x="295" y="417"/>
                  <a:pt x="295" y="412"/>
                </a:cubicBezTo>
                <a:cubicBezTo>
                  <a:pt x="295" y="178"/>
                  <a:pt x="295" y="178"/>
                  <a:pt x="295" y="178"/>
                </a:cubicBezTo>
                <a:cubicBezTo>
                  <a:pt x="252" y="178"/>
                  <a:pt x="252" y="178"/>
                  <a:pt x="252" y="178"/>
                </a:cubicBezTo>
                <a:cubicBezTo>
                  <a:pt x="229" y="178"/>
                  <a:pt x="200" y="197"/>
                  <a:pt x="191" y="234"/>
                </a:cubicBezTo>
                <a:close/>
                <a:moveTo>
                  <a:pt x="1202" y="449"/>
                </a:moveTo>
                <a:cubicBezTo>
                  <a:pt x="1197" y="449"/>
                  <a:pt x="1192" y="448"/>
                  <a:pt x="1187" y="446"/>
                </a:cubicBezTo>
                <a:cubicBezTo>
                  <a:pt x="1173" y="440"/>
                  <a:pt x="1164" y="427"/>
                  <a:pt x="1164" y="411"/>
                </a:cubicBezTo>
                <a:cubicBezTo>
                  <a:pt x="1164" y="150"/>
                  <a:pt x="1164" y="150"/>
                  <a:pt x="1164" y="150"/>
                </a:cubicBezTo>
                <a:cubicBezTo>
                  <a:pt x="1235" y="150"/>
                  <a:pt x="1235" y="150"/>
                  <a:pt x="1235" y="150"/>
                </a:cubicBezTo>
                <a:cubicBezTo>
                  <a:pt x="1269" y="150"/>
                  <a:pt x="1310" y="177"/>
                  <a:pt x="1323" y="227"/>
                </a:cubicBezTo>
                <a:cubicBezTo>
                  <a:pt x="1339" y="291"/>
                  <a:pt x="1305" y="368"/>
                  <a:pt x="1228" y="439"/>
                </a:cubicBezTo>
                <a:cubicBezTo>
                  <a:pt x="1221" y="446"/>
                  <a:pt x="1211" y="449"/>
                  <a:pt x="1202" y="449"/>
                </a:cubicBezTo>
                <a:close/>
                <a:moveTo>
                  <a:pt x="1192" y="178"/>
                </a:moveTo>
                <a:cubicBezTo>
                  <a:pt x="1192" y="411"/>
                  <a:pt x="1192" y="411"/>
                  <a:pt x="1192" y="411"/>
                </a:cubicBezTo>
                <a:cubicBezTo>
                  <a:pt x="1192" y="417"/>
                  <a:pt x="1196" y="420"/>
                  <a:pt x="1198" y="420"/>
                </a:cubicBezTo>
                <a:cubicBezTo>
                  <a:pt x="1199" y="421"/>
                  <a:pt x="1204" y="423"/>
                  <a:pt x="1209" y="418"/>
                </a:cubicBezTo>
                <a:cubicBezTo>
                  <a:pt x="1278" y="354"/>
                  <a:pt x="1310" y="287"/>
                  <a:pt x="1296" y="234"/>
                </a:cubicBezTo>
                <a:cubicBezTo>
                  <a:pt x="1287" y="197"/>
                  <a:pt x="1258" y="178"/>
                  <a:pt x="1235" y="178"/>
                </a:cubicBezTo>
                <a:lnTo>
                  <a:pt x="1192" y="178"/>
                </a:lnTo>
                <a:close/>
                <a:moveTo>
                  <a:pt x="1165" y="28"/>
                </a:moveTo>
                <a:cubicBezTo>
                  <a:pt x="1055" y="28"/>
                  <a:pt x="1055" y="28"/>
                  <a:pt x="1055" y="28"/>
                </a:cubicBezTo>
                <a:cubicBezTo>
                  <a:pt x="1047" y="28"/>
                  <a:pt x="1041" y="22"/>
                  <a:pt x="1041" y="14"/>
                </a:cubicBezTo>
                <a:cubicBezTo>
                  <a:pt x="1041" y="6"/>
                  <a:pt x="1047" y="0"/>
                  <a:pt x="1055" y="0"/>
                </a:cubicBezTo>
                <a:cubicBezTo>
                  <a:pt x="1165" y="0"/>
                  <a:pt x="1165" y="0"/>
                  <a:pt x="1165" y="0"/>
                </a:cubicBezTo>
                <a:cubicBezTo>
                  <a:pt x="1173" y="0"/>
                  <a:pt x="1179" y="6"/>
                  <a:pt x="1179" y="14"/>
                </a:cubicBezTo>
                <a:cubicBezTo>
                  <a:pt x="1179" y="22"/>
                  <a:pt x="1173" y="28"/>
                  <a:pt x="1165" y="28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4" name="Rectangle 43"/>
          <p:cNvSpPr/>
          <p:nvPr/>
        </p:nvSpPr>
        <p:spPr>
          <a:xfrm flipH="1">
            <a:off x="7183351" y="978221"/>
            <a:ext cx="3639463" cy="411022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9900" b="1" kern="0" cap="all" dirty="0">
                <a:solidFill>
                  <a:prstClr val="white">
                    <a:alpha val="50000"/>
                  </a:prstClr>
                </a:solidFill>
                <a:latin typeface="Source Sans Pro Black" charset="0"/>
                <a:ea typeface="Source Sans Pro Black" charset="0"/>
                <a:cs typeface="Source Sans Pro Black" charset="0"/>
              </a:rPr>
              <a:t>2</a:t>
            </a:r>
            <a:endParaRPr kumimoji="0" lang="lt-LT" sz="19900" b="1" i="0" u="none" strike="noStrike" kern="0" cap="all" spc="0" normalizeH="0" baseline="0" noProof="0" dirty="0">
              <a:ln>
                <a:noFill/>
              </a:ln>
              <a:solidFill>
                <a:prstClr val="white">
                  <a:alpha val="50000"/>
                </a:prstClr>
              </a:solidFill>
              <a:effectLst/>
              <a:uLnTx/>
              <a:uFillTx/>
              <a:latin typeface="Source Sans Pro Black" charset="0"/>
              <a:ea typeface="Source Sans Pro Black" charset="0"/>
              <a:cs typeface="Source Sans Pro Blac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4849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4" name="Object 2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/>
          <p:cNvPicPr>
            <a:picLocks noGrp="1" noChangeAspect="1"/>
          </p:cNvPicPr>
          <p:nvPr>
            <p:ph type="pic" sz="quarter" idx="10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09" b="7809"/>
          <a:stretch>
            <a:fillRect/>
          </a:stretch>
        </p:blipFill>
        <p:spPr/>
      </p:pic>
      <p:sp>
        <p:nvSpPr>
          <p:cNvPr id="18" name="Rectangle 17"/>
          <p:cNvSpPr/>
          <p:nvPr/>
        </p:nvSpPr>
        <p:spPr>
          <a:xfrm rot="5400000">
            <a:off x="10771684" y="4605860"/>
            <a:ext cx="404121" cy="1559758"/>
          </a:xfrm>
          <a:prstGeom prst="rect">
            <a:avLst/>
          </a:prstGeom>
          <a:solidFill>
            <a:schemeClr val="tx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19" name="Rectangle 18"/>
          <p:cNvSpPr/>
          <p:nvPr/>
        </p:nvSpPr>
        <p:spPr>
          <a:xfrm rot="5400000">
            <a:off x="10771684" y="5147474"/>
            <a:ext cx="404121" cy="1559758"/>
          </a:xfrm>
          <a:prstGeom prst="rect">
            <a:avLst/>
          </a:prstGeom>
          <a:solidFill>
            <a:schemeClr val="tx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20" name="Rectangle 19"/>
          <p:cNvSpPr/>
          <p:nvPr/>
        </p:nvSpPr>
        <p:spPr>
          <a:xfrm rot="5400000">
            <a:off x="10771684" y="5689089"/>
            <a:ext cx="404121" cy="1559758"/>
          </a:xfrm>
          <a:prstGeom prst="rect">
            <a:avLst/>
          </a:prstGeom>
          <a:solidFill>
            <a:schemeClr val="tx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253218" y="424543"/>
            <a:ext cx="5922499" cy="5842364"/>
          </a:xfrm>
          <a:prstGeom prst="rect">
            <a:avLst/>
          </a:prstGeom>
          <a:solidFill>
            <a:srgbClr val="FFFFFF">
              <a:alpha val="80000"/>
            </a:srgbClr>
          </a:solidFill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 rot="5400000">
            <a:off x="11779828" y="5164339"/>
            <a:ext cx="404121" cy="442800"/>
          </a:xfrm>
          <a:prstGeom prst="rect">
            <a:avLst/>
          </a:prstGeom>
          <a:solidFill>
            <a:schemeClr val="accent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41" name="Rectangle 40"/>
          <p:cNvSpPr/>
          <p:nvPr/>
        </p:nvSpPr>
        <p:spPr>
          <a:xfrm rot="5400000">
            <a:off x="11779828" y="5705953"/>
            <a:ext cx="404121" cy="442800"/>
          </a:xfrm>
          <a:prstGeom prst="rect">
            <a:avLst/>
          </a:prstGeom>
          <a:solidFill>
            <a:schemeClr val="accent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42" name="Rectangle 41"/>
          <p:cNvSpPr/>
          <p:nvPr/>
        </p:nvSpPr>
        <p:spPr>
          <a:xfrm rot="5400000">
            <a:off x="11779828" y="6247568"/>
            <a:ext cx="404121" cy="442800"/>
          </a:xfrm>
          <a:prstGeom prst="rect">
            <a:avLst/>
          </a:prstGeom>
          <a:solidFill>
            <a:schemeClr val="accent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22" name="Rectangle 21"/>
          <p:cNvSpPr/>
          <p:nvPr/>
        </p:nvSpPr>
        <p:spPr>
          <a:xfrm rot="5400000">
            <a:off x="10771684" y="4605861"/>
            <a:ext cx="404121" cy="1559758"/>
          </a:xfrm>
          <a:prstGeom prst="rect">
            <a:avLst/>
          </a:prstGeom>
          <a:solidFill>
            <a:schemeClr val="tx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23" name="Rectangle 22"/>
          <p:cNvSpPr/>
          <p:nvPr/>
        </p:nvSpPr>
        <p:spPr>
          <a:xfrm rot="5400000">
            <a:off x="11779828" y="5164340"/>
            <a:ext cx="404121" cy="442800"/>
          </a:xfrm>
          <a:prstGeom prst="rect">
            <a:avLst/>
          </a:prstGeom>
          <a:solidFill>
            <a:schemeClr val="accent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28" name="Rectangle 27"/>
          <p:cNvSpPr/>
          <p:nvPr/>
        </p:nvSpPr>
        <p:spPr>
          <a:xfrm rot="5400000">
            <a:off x="11779828" y="5705954"/>
            <a:ext cx="404121" cy="442800"/>
          </a:xfrm>
          <a:prstGeom prst="rect">
            <a:avLst/>
          </a:prstGeom>
          <a:solidFill>
            <a:schemeClr val="accent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30" name="Rectangle 29"/>
          <p:cNvSpPr/>
          <p:nvPr/>
        </p:nvSpPr>
        <p:spPr>
          <a:xfrm rot="5400000">
            <a:off x="10771684" y="4605862"/>
            <a:ext cx="404121" cy="1559758"/>
          </a:xfrm>
          <a:prstGeom prst="rect">
            <a:avLst/>
          </a:prstGeom>
          <a:solidFill>
            <a:schemeClr val="tx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31" name="Rectangle 30"/>
          <p:cNvSpPr/>
          <p:nvPr/>
        </p:nvSpPr>
        <p:spPr>
          <a:xfrm rot="5400000">
            <a:off x="11779828" y="5164341"/>
            <a:ext cx="404121" cy="442800"/>
          </a:xfrm>
          <a:prstGeom prst="rect">
            <a:avLst/>
          </a:prstGeom>
          <a:solidFill>
            <a:schemeClr val="accent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32" name="Rectangle 31"/>
          <p:cNvSpPr/>
          <p:nvPr/>
        </p:nvSpPr>
        <p:spPr>
          <a:xfrm rot="5400000">
            <a:off x="10771684" y="5147475"/>
            <a:ext cx="404121" cy="1559758"/>
          </a:xfrm>
          <a:prstGeom prst="rect">
            <a:avLst/>
          </a:prstGeom>
          <a:solidFill>
            <a:schemeClr val="tx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36" name="Rectangle 35"/>
          <p:cNvSpPr/>
          <p:nvPr/>
        </p:nvSpPr>
        <p:spPr>
          <a:xfrm rot="5400000">
            <a:off x="11779828" y="5705955"/>
            <a:ext cx="404121" cy="442800"/>
          </a:xfrm>
          <a:prstGeom prst="rect">
            <a:avLst/>
          </a:prstGeom>
          <a:solidFill>
            <a:schemeClr val="accent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37" name="Rectangle 36"/>
          <p:cNvSpPr/>
          <p:nvPr/>
        </p:nvSpPr>
        <p:spPr>
          <a:xfrm rot="5400000">
            <a:off x="10771684" y="4605863"/>
            <a:ext cx="404121" cy="1559758"/>
          </a:xfrm>
          <a:prstGeom prst="rect">
            <a:avLst/>
          </a:prstGeom>
          <a:solidFill>
            <a:schemeClr val="tx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38" name="Rectangle 37"/>
          <p:cNvSpPr/>
          <p:nvPr/>
        </p:nvSpPr>
        <p:spPr>
          <a:xfrm rot="5400000">
            <a:off x="11779828" y="5164342"/>
            <a:ext cx="404121" cy="442800"/>
          </a:xfrm>
          <a:prstGeom prst="rect">
            <a:avLst/>
          </a:prstGeom>
          <a:solidFill>
            <a:schemeClr val="accent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40" name="Rectangle 39"/>
          <p:cNvSpPr/>
          <p:nvPr/>
        </p:nvSpPr>
        <p:spPr>
          <a:xfrm rot="5400000">
            <a:off x="10771684" y="5147476"/>
            <a:ext cx="404121" cy="1559758"/>
          </a:xfrm>
          <a:prstGeom prst="rect">
            <a:avLst/>
          </a:prstGeom>
          <a:solidFill>
            <a:schemeClr val="tx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43" name="Rectangle 42"/>
          <p:cNvSpPr/>
          <p:nvPr/>
        </p:nvSpPr>
        <p:spPr>
          <a:xfrm rot="5400000">
            <a:off x="11779828" y="5705956"/>
            <a:ext cx="404121" cy="442800"/>
          </a:xfrm>
          <a:prstGeom prst="rect">
            <a:avLst/>
          </a:prstGeom>
          <a:solidFill>
            <a:schemeClr val="accent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44" name="Rectangle 43"/>
          <p:cNvSpPr/>
          <p:nvPr/>
        </p:nvSpPr>
        <p:spPr>
          <a:xfrm rot="5400000">
            <a:off x="10771684" y="4605864"/>
            <a:ext cx="404121" cy="1559758"/>
          </a:xfrm>
          <a:prstGeom prst="rect">
            <a:avLst/>
          </a:prstGeom>
          <a:solidFill>
            <a:schemeClr val="tx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45" name="Rectangle 44"/>
          <p:cNvSpPr/>
          <p:nvPr/>
        </p:nvSpPr>
        <p:spPr>
          <a:xfrm rot="5400000">
            <a:off x="11779828" y="5164344"/>
            <a:ext cx="404121" cy="442800"/>
          </a:xfrm>
          <a:prstGeom prst="rect">
            <a:avLst/>
          </a:prstGeom>
          <a:solidFill>
            <a:schemeClr val="accent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52" name="Rectangle 51"/>
          <p:cNvSpPr/>
          <p:nvPr/>
        </p:nvSpPr>
        <p:spPr>
          <a:xfrm rot="5400000">
            <a:off x="10771684" y="4605865"/>
            <a:ext cx="404121" cy="1559758"/>
          </a:xfrm>
          <a:prstGeom prst="rect">
            <a:avLst/>
          </a:prstGeom>
          <a:solidFill>
            <a:schemeClr val="tx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53" name="Rectangle 52"/>
          <p:cNvSpPr/>
          <p:nvPr/>
        </p:nvSpPr>
        <p:spPr>
          <a:xfrm rot="5400000">
            <a:off x="11779828" y="5164345"/>
            <a:ext cx="404121" cy="442800"/>
          </a:xfrm>
          <a:prstGeom prst="rect">
            <a:avLst/>
          </a:prstGeom>
          <a:solidFill>
            <a:schemeClr val="accent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54" name="Rectangle 53"/>
          <p:cNvSpPr/>
          <p:nvPr/>
        </p:nvSpPr>
        <p:spPr>
          <a:xfrm rot="5400000">
            <a:off x="11779828" y="5705957"/>
            <a:ext cx="404121" cy="442800"/>
          </a:xfrm>
          <a:prstGeom prst="rect">
            <a:avLst/>
          </a:prstGeom>
          <a:solidFill>
            <a:schemeClr val="accent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55" name="Rectangle 54"/>
          <p:cNvSpPr/>
          <p:nvPr/>
        </p:nvSpPr>
        <p:spPr>
          <a:xfrm rot="5400000">
            <a:off x="10771684" y="4605866"/>
            <a:ext cx="404121" cy="1559758"/>
          </a:xfrm>
          <a:prstGeom prst="rect">
            <a:avLst/>
          </a:prstGeom>
          <a:solidFill>
            <a:schemeClr val="tx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56" name="Rectangle 55"/>
          <p:cNvSpPr/>
          <p:nvPr/>
        </p:nvSpPr>
        <p:spPr>
          <a:xfrm rot="5400000">
            <a:off x="11779828" y="5164346"/>
            <a:ext cx="404121" cy="442800"/>
          </a:xfrm>
          <a:prstGeom prst="rect">
            <a:avLst/>
          </a:prstGeom>
          <a:solidFill>
            <a:schemeClr val="accent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57" name="Rectangle 56"/>
          <p:cNvSpPr/>
          <p:nvPr/>
        </p:nvSpPr>
        <p:spPr>
          <a:xfrm rot="5400000">
            <a:off x="10771684" y="5147477"/>
            <a:ext cx="404121" cy="1559758"/>
          </a:xfrm>
          <a:prstGeom prst="rect">
            <a:avLst/>
          </a:prstGeom>
          <a:solidFill>
            <a:schemeClr val="tx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58" name="Rectangle 57"/>
          <p:cNvSpPr/>
          <p:nvPr/>
        </p:nvSpPr>
        <p:spPr>
          <a:xfrm rot="5400000">
            <a:off x="11779828" y="5705958"/>
            <a:ext cx="404121" cy="442800"/>
          </a:xfrm>
          <a:prstGeom prst="rect">
            <a:avLst/>
          </a:prstGeom>
          <a:solidFill>
            <a:schemeClr val="accent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59" name="Rectangle 58"/>
          <p:cNvSpPr/>
          <p:nvPr/>
        </p:nvSpPr>
        <p:spPr>
          <a:xfrm rot="5400000">
            <a:off x="10771684" y="4605867"/>
            <a:ext cx="404121" cy="1559758"/>
          </a:xfrm>
          <a:prstGeom prst="rect">
            <a:avLst/>
          </a:prstGeom>
          <a:solidFill>
            <a:schemeClr val="tx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60" name="Rectangle 59"/>
          <p:cNvSpPr/>
          <p:nvPr/>
        </p:nvSpPr>
        <p:spPr>
          <a:xfrm rot="5400000">
            <a:off x="11779828" y="5164347"/>
            <a:ext cx="404121" cy="442800"/>
          </a:xfrm>
          <a:prstGeom prst="rect">
            <a:avLst/>
          </a:prstGeom>
          <a:solidFill>
            <a:schemeClr val="accent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61" name="Rectangle 60"/>
          <p:cNvSpPr/>
          <p:nvPr/>
        </p:nvSpPr>
        <p:spPr>
          <a:xfrm rot="5400000">
            <a:off x="10771684" y="5689090"/>
            <a:ext cx="404121" cy="1559758"/>
          </a:xfrm>
          <a:prstGeom prst="rect">
            <a:avLst/>
          </a:prstGeom>
          <a:solidFill>
            <a:schemeClr val="tx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62" name="Rectangle 61"/>
          <p:cNvSpPr/>
          <p:nvPr/>
        </p:nvSpPr>
        <p:spPr>
          <a:xfrm rot="5400000">
            <a:off x="10771684" y="5147478"/>
            <a:ext cx="404121" cy="1559758"/>
          </a:xfrm>
          <a:prstGeom prst="rect">
            <a:avLst/>
          </a:prstGeom>
          <a:solidFill>
            <a:schemeClr val="tx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63" name="Rectangle 62"/>
          <p:cNvSpPr/>
          <p:nvPr/>
        </p:nvSpPr>
        <p:spPr>
          <a:xfrm rot="5400000">
            <a:off x="11779828" y="5705959"/>
            <a:ext cx="404121" cy="442800"/>
          </a:xfrm>
          <a:prstGeom prst="rect">
            <a:avLst/>
          </a:prstGeom>
          <a:solidFill>
            <a:schemeClr val="accent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64" name="Rectangle 63"/>
          <p:cNvSpPr/>
          <p:nvPr/>
        </p:nvSpPr>
        <p:spPr>
          <a:xfrm rot="5400000">
            <a:off x="10771684" y="4605869"/>
            <a:ext cx="404121" cy="1559758"/>
          </a:xfrm>
          <a:prstGeom prst="rect">
            <a:avLst/>
          </a:prstGeom>
          <a:solidFill>
            <a:schemeClr val="tx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65" name="Rectangle 64"/>
          <p:cNvSpPr/>
          <p:nvPr/>
        </p:nvSpPr>
        <p:spPr>
          <a:xfrm rot="5400000">
            <a:off x="11779828" y="5164348"/>
            <a:ext cx="404121" cy="442800"/>
          </a:xfrm>
          <a:prstGeom prst="rect">
            <a:avLst/>
          </a:prstGeom>
          <a:solidFill>
            <a:schemeClr val="accent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2" name="مستطيل: زوايا مستديرة 1">
            <a:extLst>
              <a:ext uri="{FF2B5EF4-FFF2-40B4-BE49-F238E27FC236}">
                <a16:creationId xmlns:a16="http://schemas.microsoft.com/office/drawing/2014/main" id="{D16B1817-0592-5B4D-587D-AA9E93B56ECB}"/>
              </a:ext>
            </a:extLst>
          </p:cNvPr>
          <p:cNvSpPr/>
          <p:nvPr/>
        </p:nvSpPr>
        <p:spPr>
          <a:xfrm>
            <a:off x="600074" y="828675"/>
            <a:ext cx="5229225" cy="5029200"/>
          </a:xfrm>
          <a:prstGeom prst="roundRect">
            <a:avLst/>
          </a:prstGeom>
          <a:solidFill>
            <a:schemeClr val="accent1">
              <a:alpha val="3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ar-SA" sz="3200" b="1" dirty="0">
                <a:solidFill>
                  <a:schemeClr val="accent1">
                    <a:lumMod val="50000"/>
                  </a:schemeClr>
                </a:solidFill>
              </a:rPr>
              <a:t>لو تمكنت من رؤية قلوب البشر لرأيت في كل قلب</a:t>
            </a:r>
          </a:p>
          <a:p>
            <a:pPr algn="ctr"/>
            <a:r>
              <a:rPr lang="ar-SA" sz="3200" b="1" dirty="0">
                <a:solidFill>
                  <a:schemeClr val="accent1">
                    <a:lumMod val="50000"/>
                  </a:schemeClr>
                </a:solidFill>
              </a:rPr>
              <a:t> &lt; قصة وجع &gt;</a:t>
            </a:r>
            <a:endParaRPr lang="en-US" sz="3200" b="1" dirty="0">
              <a:solidFill>
                <a:schemeClr val="accent1">
                  <a:lumMod val="50000"/>
                </a:schemeClr>
              </a:solidFill>
            </a:endParaRPr>
          </a:p>
          <a:p>
            <a:pPr algn="ctr"/>
            <a:r>
              <a:rPr lang="ar-SA" sz="3200" b="1" dirty="0">
                <a:solidFill>
                  <a:schemeClr val="accent1">
                    <a:lumMod val="50000"/>
                  </a:schemeClr>
                </a:solidFill>
              </a:rPr>
              <a:t>فلنرحم بعضنا لعل الله يرحمنا </a:t>
            </a:r>
            <a:r>
              <a:rPr lang="en-US" sz="3200" b="1" dirty="0">
                <a:solidFill>
                  <a:schemeClr val="accent1">
                    <a:lumMod val="50000"/>
                  </a:schemeClr>
                </a:solidFill>
              </a:rPr>
              <a:t>  </a:t>
            </a:r>
            <a:endParaRPr lang="ar-SA" sz="3200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9283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 dir="ou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" t="12192" r="354" b="4034"/>
          <a:stretch/>
        </p:blipFill>
        <p:spPr/>
      </p:pic>
      <p:sp>
        <p:nvSpPr>
          <p:cNvPr id="24" name="Rectangle 23"/>
          <p:cNvSpPr/>
          <p:nvPr/>
        </p:nvSpPr>
        <p:spPr>
          <a:xfrm flipH="1">
            <a:off x="0" y="-8549"/>
            <a:ext cx="4813310" cy="6866549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t-LT" sz="3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25" name="Rectangle 24"/>
          <p:cNvSpPr/>
          <p:nvPr/>
        </p:nvSpPr>
        <p:spPr>
          <a:xfrm flipH="1">
            <a:off x="405234" y="3599185"/>
            <a:ext cx="4243980" cy="67710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44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 Jannat LT" panose="01000000000000000000" pitchFamily="2" charset="-78"/>
                <a:ea typeface="+mn-ea"/>
                <a:cs typeface="A Jannat LT" panose="01000000000000000000" pitchFamily="2" charset="-78"/>
              </a:rPr>
              <a:t>تمهيد </a:t>
            </a:r>
            <a:endParaRPr kumimoji="0" lang="ko-KR" altLang="en-US" sz="44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 Jannat LT" panose="01000000000000000000" pitchFamily="2" charset="-78"/>
              <a:ea typeface="+mn-ea"/>
              <a:cs typeface="A Jannat LT" panose="01000000000000000000" pitchFamily="2" charset="-78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365794" y="326495"/>
            <a:ext cx="5258752" cy="5886943"/>
          </a:xfrm>
          <a:prstGeom prst="rect">
            <a:avLst/>
          </a:prstGeom>
          <a:noFill/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>
            <a:off x="3553143" y="1503563"/>
            <a:ext cx="72778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val 41"/>
          <p:cNvSpPr/>
          <p:nvPr/>
        </p:nvSpPr>
        <p:spPr>
          <a:xfrm>
            <a:off x="7566223" y="1984881"/>
            <a:ext cx="2876544" cy="2876544"/>
          </a:xfrm>
          <a:prstGeom prst="ellipse">
            <a:avLst/>
          </a:prstGeom>
          <a:noFill/>
          <a:ln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3" name="Oval 32"/>
          <p:cNvSpPr/>
          <p:nvPr/>
        </p:nvSpPr>
        <p:spPr>
          <a:xfrm>
            <a:off x="7521610" y="1940268"/>
            <a:ext cx="2965768" cy="2965768"/>
          </a:xfrm>
          <a:prstGeom prst="ellipse">
            <a:avLst/>
          </a:prstGeom>
          <a:noFill/>
          <a:ln w="317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7396887" y="2379990"/>
            <a:ext cx="666045" cy="66604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4" name="Oval 33"/>
          <p:cNvSpPr/>
          <p:nvPr/>
        </p:nvSpPr>
        <p:spPr>
          <a:xfrm>
            <a:off x="7339912" y="3203019"/>
            <a:ext cx="384884" cy="38488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5" name="Oval 34"/>
          <p:cNvSpPr/>
          <p:nvPr/>
        </p:nvSpPr>
        <p:spPr>
          <a:xfrm>
            <a:off x="7944038" y="2116156"/>
            <a:ext cx="297701" cy="2977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6" name="Oval 35"/>
          <p:cNvSpPr/>
          <p:nvPr/>
        </p:nvSpPr>
        <p:spPr>
          <a:xfrm>
            <a:off x="9781393" y="4242129"/>
            <a:ext cx="474373" cy="47437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7" name="Oval 36"/>
          <p:cNvSpPr/>
          <p:nvPr/>
        </p:nvSpPr>
        <p:spPr>
          <a:xfrm>
            <a:off x="10169141" y="4011741"/>
            <a:ext cx="278538" cy="27853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8" name="Oval 37"/>
          <p:cNvSpPr/>
          <p:nvPr/>
        </p:nvSpPr>
        <p:spPr>
          <a:xfrm>
            <a:off x="9632542" y="2064962"/>
            <a:ext cx="297701" cy="2977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9" name="Oval 38"/>
          <p:cNvSpPr/>
          <p:nvPr/>
        </p:nvSpPr>
        <p:spPr>
          <a:xfrm>
            <a:off x="9958065" y="2297680"/>
            <a:ext cx="164620" cy="16462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0" name="Oval 39"/>
          <p:cNvSpPr/>
          <p:nvPr/>
        </p:nvSpPr>
        <p:spPr>
          <a:xfrm>
            <a:off x="8159429" y="4589036"/>
            <a:ext cx="164620" cy="16462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1" name="Oval 40"/>
          <p:cNvSpPr/>
          <p:nvPr/>
        </p:nvSpPr>
        <p:spPr>
          <a:xfrm>
            <a:off x="8357684" y="4512788"/>
            <a:ext cx="658099" cy="6580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8" name="Freeform 13"/>
          <p:cNvSpPr>
            <a:spLocks noEditPoints="1"/>
          </p:cNvSpPr>
          <p:nvPr/>
        </p:nvSpPr>
        <p:spPr bwMode="auto">
          <a:xfrm>
            <a:off x="3988167" y="5269688"/>
            <a:ext cx="687257" cy="776288"/>
          </a:xfrm>
          <a:custGeom>
            <a:avLst/>
            <a:gdLst>
              <a:gd name="T0" fmla="*/ 435 w 1487"/>
              <a:gd name="T1" fmla="*/ 1680 h 1680"/>
              <a:gd name="T2" fmla="*/ 346 w 1487"/>
              <a:gd name="T3" fmla="*/ 1283 h 1680"/>
              <a:gd name="T4" fmla="*/ 627 w 1487"/>
              <a:gd name="T5" fmla="*/ 1194 h 1680"/>
              <a:gd name="T6" fmla="*/ 654 w 1487"/>
              <a:gd name="T7" fmla="*/ 1074 h 1680"/>
              <a:gd name="T8" fmla="*/ 299 w 1487"/>
              <a:gd name="T9" fmla="*/ 672 h 1680"/>
              <a:gd name="T10" fmla="*/ 66 w 1487"/>
              <a:gd name="T11" fmla="*/ 441 h 1680"/>
              <a:gd name="T12" fmla="*/ 252 w 1487"/>
              <a:gd name="T13" fmla="*/ 0 h 1680"/>
              <a:gd name="T14" fmla="*/ 979 w 1487"/>
              <a:gd name="T15" fmla="*/ 14 h 1680"/>
              <a:gd name="T16" fmla="*/ 252 w 1487"/>
              <a:gd name="T17" fmla="*/ 28 h 1680"/>
              <a:gd name="T18" fmla="*/ 90 w 1487"/>
              <a:gd name="T19" fmla="*/ 426 h 1680"/>
              <a:gd name="T20" fmla="*/ 327 w 1487"/>
              <a:gd name="T21" fmla="*/ 668 h 1680"/>
              <a:gd name="T22" fmla="*/ 682 w 1487"/>
              <a:gd name="T23" fmla="*/ 1074 h 1680"/>
              <a:gd name="T24" fmla="*/ 627 w 1487"/>
              <a:gd name="T25" fmla="*/ 1222 h 1680"/>
              <a:gd name="T26" fmla="*/ 374 w 1487"/>
              <a:gd name="T27" fmla="*/ 1283 h 1680"/>
              <a:gd name="T28" fmla="*/ 435 w 1487"/>
              <a:gd name="T29" fmla="*/ 1652 h 1680"/>
              <a:gd name="T30" fmla="*/ 1113 w 1487"/>
              <a:gd name="T31" fmla="*/ 1591 h 1680"/>
              <a:gd name="T32" fmla="*/ 1051 w 1487"/>
              <a:gd name="T33" fmla="*/ 1222 h 1680"/>
              <a:gd name="T34" fmla="*/ 804 w 1487"/>
              <a:gd name="T35" fmla="*/ 1167 h 1680"/>
              <a:gd name="T36" fmla="*/ 845 w 1487"/>
              <a:gd name="T37" fmla="*/ 1024 h 1680"/>
              <a:gd name="T38" fmla="*/ 1005 w 1487"/>
              <a:gd name="T39" fmla="*/ 963 h 1680"/>
              <a:gd name="T40" fmla="*/ 851 w 1487"/>
              <a:gd name="T41" fmla="*/ 1051 h 1680"/>
              <a:gd name="T42" fmla="*/ 832 w 1487"/>
              <a:gd name="T43" fmla="*/ 1167 h 1680"/>
              <a:gd name="T44" fmla="*/ 1051 w 1487"/>
              <a:gd name="T45" fmla="*/ 1194 h 1680"/>
              <a:gd name="T46" fmla="*/ 1141 w 1487"/>
              <a:gd name="T47" fmla="*/ 1591 h 1680"/>
              <a:gd name="T48" fmla="*/ 1109 w 1487"/>
              <a:gd name="T49" fmla="*/ 864 h 1680"/>
              <a:gd name="T50" fmla="*/ 1097 w 1487"/>
              <a:gd name="T51" fmla="*/ 842 h 1680"/>
              <a:gd name="T52" fmla="*/ 1140 w 1487"/>
              <a:gd name="T53" fmla="*/ 793 h 1680"/>
              <a:gd name="T54" fmla="*/ 1121 w 1487"/>
              <a:gd name="T55" fmla="*/ 857 h 1680"/>
              <a:gd name="T56" fmla="*/ 1160 w 1487"/>
              <a:gd name="T57" fmla="*/ 754 h 1680"/>
              <a:gd name="T58" fmla="*/ 1146 w 1487"/>
              <a:gd name="T59" fmla="*/ 736 h 1680"/>
              <a:gd name="T60" fmla="*/ 1192 w 1487"/>
              <a:gd name="T61" fmla="*/ 618 h 1680"/>
              <a:gd name="T62" fmla="*/ 1442 w 1487"/>
              <a:gd name="T63" fmla="*/ 197 h 1680"/>
              <a:gd name="T64" fmla="*/ 1235 w 1487"/>
              <a:gd name="T65" fmla="*/ 28 h 1680"/>
              <a:gd name="T66" fmla="*/ 1235 w 1487"/>
              <a:gd name="T67" fmla="*/ 0 h 1680"/>
              <a:gd name="T68" fmla="*/ 1469 w 1487"/>
              <a:gd name="T69" fmla="*/ 190 h 1680"/>
              <a:gd name="T70" fmla="*/ 1207 w 1487"/>
              <a:gd name="T71" fmla="*/ 642 h 1680"/>
              <a:gd name="T72" fmla="*/ 1173 w 1487"/>
              <a:gd name="T73" fmla="*/ 744 h 1680"/>
              <a:gd name="T74" fmla="*/ 285 w 1487"/>
              <a:gd name="T75" fmla="*/ 450 h 1680"/>
              <a:gd name="T76" fmla="*/ 163 w 1487"/>
              <a:gd name="T77" fmla="*/ 227 h 1680"/>
              <a:gd name="T78" fmla="*/ 252 w 1487"/>
              <a:gd name="T79" fmla="*/ 150 h 1680"/>
              <a:gd name="T80" fmla="*/ 323 w 1487"/>
              <a:gd name="T81" fmla="*/ 412 h 1680"/>
              <a:gd name="T82" fmla="*/ 285 w 1487"/>
              <a:gd name="T83" fmla="*/ 450 h 1680"/>
              <a:gd name="T84" fmla="*/ 278 w 1487"/>
              <a:gd name="T85" fmla="*/ 419 h 1680"/>
              <a:gd name="T86" fmla="*/ 295 w 1487"/>
              <a:gd name="T87" fmla="*/ 412 h 1680"/>
              <a:gd name="T88" fmla="*/ 252 w 1487"/>
              <a:gd name="T89" fmla="*/ 178 h 1680"/>
              <a:gd name="T90" fmla="*/ 1202 w 1487"/>
              <a:gd name="T91" fmla="*/ 449 h 1680"/>
              <a:gd name="T92" fmla="*/ 1164 w 1487"/>
              <a:gd name="T93" fmla="*/ 411 h 1680"/>
              <a:gd name="T94" fmla="*/ 1235 w 1487"/>
              <a:gd name="T95" fmla="*/ 150 h 1680"/>
              <a:gd name="T96" fmla="*/ 1228 w 1487"/>
              <a:gd name="T97" fmla="*/ 439 h 1680"/>
              <a:gd name="T98" fmla="*/ 1192 w 1487"/>
              <a:gd name="T99" fmla="*/ 178 h 1680"/>
              <a:gd name="T100" fmla="*/ 1198 w 1487"/>
              <a:gd name="T101" fmla="*/ 420 h 1680"/>
              <a:gd name="T102" fmla="*/ 1296 w 1487"/>
              <a:gd name="T103" fmla="*/ 234 h 1680"/>
              <a:gd name="T104" fmla="*/ 1192 w 1487"/>
              <a:gd name="T105" fmla="*/ 178 h 1680"/>
              <a:gd name="T106" fmla="*/ 1055 w 1487"/>
              <a:gd name="T107" fmla="*/ 28 h 1680"/>
              <a:gd name="T108" fmla="*/ 1055 w 1487"/>
              <a:gd name="T109" fmla="*/ 0 h 1680"/>
              <a:gd name="T110" fmla="*/ 1179 w 1487"/>
              <a:gd name="T111" fmla="*/ 14 h 1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487" h="1680">
                <a:moveTo>
                  <a:pt x="1051" y="1680"/>
                </a:moveTo>
                <a:cubicBezTo>
                  <a:pt x="435" y="1680"/>
                  <a:pt x="435" y="1680"/>
                  <a:pt x="435" y="1680"/>
                </a:cubicBezTo>
                <a:cubicBezTo>
                  <a:pt x="386" y="1680"/>
                  <a:pt x="346" y="1640"/>
                  <a:pt x="346" y="1591"/>
                </a:cubicBezTo>
                <a:cubicBezTo>
                  <a:pt x="346" y="1283"/>
                  <a:pt x="346" y="1283"/>
                  <a:pt x="346" y="1283"/>
                </a:cubicBezTo>
                <a:cubicBezTo>
                  <a:pt x="346" y="1234"/>
                  <a:pt x="386" y="1194"/>
                  <a:pt x="435" y="1194"/>
                </a:cubicBezTo>
                <a:cubicBezTo>
                  <a:pt x="627" y="1194"/>
                  <a:pt x="627" y="1194"/>
                  <a:pt x="627" y="1194"/>
                </a:cubicBezTo>
                <a:cubicBezTo>
                  <a:pt x="642" y="1194"/>
                  <a:pt x="654" y="1182"/>
                  <a:pt x="654" y="1167"/>
                </a:cubicBezTo>
                <a:cubicBezTo>
                  <a:pt x="654" y="1074"/>
                  <a:pt x="654" y="1074"/>
                  <a:pt x="654" y="1074"/>
                </a:cubicBezTo>
                <a:cubicBezTo>
                  <a:pt x="654" y="1063"/>
                  <a:pt x="647" y="1053"/>
                  <a:pt x="635" y="1051"/>
                </a:cubicBezTo>
                <a:cubicBezTo>
                  <a:pt x="457" y="1006"/>
                  <a:pt x="322" y="854"/>
                  <a:pt x="299" y="672"/>
                </a:cubicBezTo>
                <a:cubicBezTo>
                  <a:pt x="298" y="660"/>
                  <a:pt x="291" y="649"/>
                  <a:pt x="280" y="643"/>
                </a:cubicBezTo>
                <a:cubicBezTo>
                  <a:pt x="184" y="582"/>
                  <a:pt x="111" y="514"/>
                  <a:pt x="66" y="441"/>
                </a:cubicBezTo>
                <a:cubicBezTo>
                  <a:pt x="0" y="336"/>
                  <a:pt x="4" y="247"/>
                  <a:pt x="18" y="190"/>
                </a:cubicBezTo>
                <a:cubicBezTo>
                  <a:pt x="47" y="78"/>
                  <a:pt x="143" y="0"/>
                  <a:pt x="252" y="0"/>
                </a:cubicBezTo>
                <a:cubicBezTo>
                  <a:pt x="965" y="0"/>
                  <a:pt x="965" y="0"/>
                  <a:pt x="965" y="0"/>
                </a:cubicBezTo>
                <a:cubicBezTo>
                  <a:pt x="973" y="0"/>
                  <a:pt x="979" y="6"/>
                  <a:pt x="979" y="14"/>
                </a:cubicBezTo>
                <a:cubicBezTo>
                  <a:pt x="979" y="22"/>
                  <a:pt x="973" y="28"/>
                  <a:pt x="965" y="28"/>
                </a:cubicBezTo>
                <a:cubicBezTo>
                  <a:pt x="252" y="28"/>
                  <a:pt x="252" y="28"/>
                  <a:pt x="252" y="28"/>
                </a:cubicBezTo>
                <a:cubicBezTo>
                  <a:pt x="156" y="28"/>
                  <a:pt x="71" y="98"/>
                  <a:pt x="45" y="197"/>
                </a:cubicBezTo>
                <a:cubicBezTo>
                  <a:pt x="32" y="248"/>
                  <a:pt x="29" y="330"/>
                  <a:pt x="90" y="426"/>
                </a:cubicBezTo>
                <a:cubicBezTo>
                  <a:pt x="133" y="495"/>
                  <a:pt x="202" y="560"/>
                  <a:pt x="295" y="619"/>
                </a:cubicBezTo>
                <a:cubicBezTo>
                  <a:pt x="313" y="630"/>
                  <a:pt x="324" y="648"/>
                  <a:pt x="327" y="668"/>
                </a:cubicBezTo>
                <a:cubicBezTo>
                  <a:pt x="348" y="839"/>
                  <a:pt x="475" y="982"/>
                  <a:pt x="642" y="1023"/>
                </a:cubicBezTo>
                <a:cubicBezTo>
                  <a:pt x="666" y="1029"/>
                  <a:pt x="682" y="1050"/>
                  <a:pt x="682" y="1074"/>
                </a:cubicBezTo>
                <a:cubicBezTo>
                  <a:pt x="682" y="1167"/>
                  <a:pt x="682" y="1167"/>
                  <a:pt x="682" y="1167"/>
                </a:cubicBezTo>
                <a:cubicBezTo>
                  <a:pt x="682" y="1197"/>
                  <a:pt x="658" y="1222"/>
                  <a:pt x="627" y="1222"/>
                </a:cubicBezTo>
                <a:cubicBezTo>
                  <a:pt x="435" y="1222"/>
                  <a:pt x="435" y="1222"/>
                  <a:pt x="435" y="1222"/>
                </a:cubicBezTo>
                <a:cubicBezTo>
                  <a:pt x="402" y="1222"/>
                  <a:pt x="374" y="1249"/>
                  <a:pt x="374" y="1283"/>
                </a:cubicBezTo>
                <a:cubicBezTo>
                  <a:pt x="374" y="1591"/>
                  <a:pt x="374" y="1591"/>
                  <a:pt x="374" y="1591"/>
                </a:cubicBezTo>
                <a:cubicBezTo>
                  <a:pt x="374" y="1625"/>
                  <a:pt x="402" y="1652"/>
                  <a:pt x="435" y="1652"/>
                </a:cubicBezTo>
                <a:cubicBezTo>
                  <a:pt x="1051" y="1652"/>
                  <a:pt x="1051" y="1652"/>
                  <a:pt x="1051" y="1652"/>
                </a:cubicBezTo>
                <a:cubicBezTo>
                  <a:pt x="1085" y="1652"/>
                  <a:pt x="1113" y="1625"/>
                  <a:pt x="1113" y="1591"/>
                </a:cubicBezTo>
                <a:cubicBezTo>
                  <a:pt x="1113" y="1283"/>
                  <a:pt x="1113" y="1283"/>
                  <a:pt x="1113" y="1283"/>
                </a:cubicBezTo>
                <a:cubicBezTo>
                  <a:pt x="1113" y="1249"/>
                  <a:pt x="1085" y="1222"/>
                  <a:pt x="1051" y="1222"/>
                </a:cubicBezTo>
                <a:cubicBezTo>
                  <a:pt x="860" y="1222"/>
                  <a:pt x="860" y="1222"/>
                  <a:pt x="860" y="1222"/>
                </a:cubicBezTo>
                <a:cubicBezTo>
                  <a:pt x="829" y="1222"/>
                  <a:pt x="804" y="1197"/>
                  <a:pt x="804" y="1167"/>
                </a:cubicBezTo>
                <a:cubicBezTo>
                  <a:pt x="804" y="1075"/>
                  <a:pt x="804" y="1075"/>
                  <a:pt x="804" y="1075"/>
                </a:cubicBezTo>
                <a:cubicBezTo>
                  <a:pt x="804" y="1050"/>
                  <a:pt x="821" y="1029"/>
                  <a:pt x="845" y="1024"/>
                </a:cubicBezTo>
                <a:cubicBezTo>
                  <a:pt x="895" y="1011"/>
                  <a:pt x="942" y="990"/>
                  <a:pt x="985" y="960"/>
                </a:cubicBezTo>
                <a:cubicBezTo>
                  <a:pt x="991" y="955"/>
                  <a:pt x="1000" y="957"/>
                  <a:pt x="1005" y="963"/>
                </a:cubicBezTo>
                <a:cubicBezTo>
                  <a:pt x="1009" y="969"/>
                  <a:pt x="1007" y="978"/>
                  <a:pt x="1001" y="982"/>
                </a:cubicBezTo>
                <a:cubicBezTo>
                  <a:pt x="956" y="1014"/>
                  <a:pt x="905" y="1037"/>
                  <a:pt x="851" y="1051"/>
                </a:cubicBezTo>
                <a:cubicBezTo>
                  <a:pt x="840" y="1054"/>
                  <a:pt x="832" y="1063"/>
                  <a:pt x="832" y="1075"/>
                </a:cubicBezTo>
                <a:cubicBezTo>
                  <a:pt x="832" y="1167"/>
                  <a:pt x="832" y="1167"/>
                  <a:pt x="832" y="1167"/>
                </a:cubicBezTo>
                <a:cubicBezTo>
                  <a:pt x="832" y="1182"/>
                  <a:pt x="845" y="1194"/>
                  <a:pt x="860" y="1194"/>
                </a:cubicBezTo>
                <a:cubicBezTo>
                  <a:pt x="1051" y="1194"/>
                  <a:pt x="1051" y="1194"/>
                  <a:pt x="1051" y="1194"/>
                </a:cubicBezTo>
                <a:cubicBezTo>
                  <a:pt x="1101" y="1194"/>
                  <a:pt x="1141" y="1234"/>
                  <a:pt x="1141" y="1283"/>
                </a:cubicBezTo>
                <a:cubicBezTo>
                  <a:pt x="1141" y="1591"/>
                  <a:pt x="1141" y="1591"/>
                  <a:pt x="1141" y="1591"/>
                </a:cubicBezTo>
                <a:cubicBezTo>
                  <a:pt x="1141" y="1640"/>
                  <a:pt x="1101" y="1680"/>
                  <a:pt x="1051" y="1680"/>
                </a:cubicBezTo>
                <a:close/>
                <a:moveTo>
                  <a:pt x="1109" y="864"/>
                </a:moveTo>
                <a:cubicBezTo>
                  <a:pt x="1107" y="864"/>
                  <a:pt x="1104" y="863"/>
                  <a:pt x="1102" y="862"/>
                </a:cubicBezTo>
                <a:cubicBezTo>
                  <a:pt x="1095" y="858"/>
                  <a:pt x="1093" y="849"/>
                  <a:pt x="1097" y="842"/>
                </a:cubicBezTo>
                <a:cubicBezTo>
                  <a:pt x="1106" y="828"/>
                  <a:pt x="1115" y="814"/>
                  <a:pt x="1122" y="799"/>
                </a:cubicBezTo>
                <a:cubicBezTo>
                  <a:pt x="1125" y="792"/>
                  <a:pt x="1134" y="789"/>
                  <a:pt x="1140" y="793"/>
                </a:cubicBezTo>
                <a:cubicBezTo>
                  <a:pt x="1147" y="796"/>
                  <a:pt x="1150" y="804"/>
                  <a:pt x="1147" y="811"/>
                </a:cubicBezTo>
                <a:cubicBezTo>
                  <a:pt x="1139" y="827"/>
                  <a:pt x="1130" y="843"/>
                  <a:pt x="1121" y="857"/>
                </a:cubicBezTo>
                <a:cubicBezTo>
                  <a:pt x="1118" y="862"/>
                  <a:pt x="1114" y="864"/>
                  <a:pt x="1109" y="864"/>
                </a:cubicBezTo>
                <a:close/>
                <a:moveTo>
                  <a:pt x="1160" y="754"/>
                </a:moveTo>
                <a:cubicBezTo>
                  <a:pt x="1159" y="754"/>
                  <a:pt x="1157" y="754"/>
                  <a:pt x="1156" y="753"/>
                </a:cubicBezTo>
                <a:cubicBezTo>
                  <a:pt x="1148" y="751"/>
                  <a:pt x="1144" y="743"/>
                  <a:pt x="1146" y="736"/>
                </a:cubicBezTo>
                <a:cubicBezTo>
                  <a:pt x="1153" y="714"/>
                  <a:pt x="1158" y="691"/>
                  <a:pt x="1161" y="668"/>
                </a:cubicBezTo>
                <a:cubicBezTo>
                  <a:pt x="1163" y="647"/>
                  <a:pt x="1175" y="629"/>
                  <a:pt x="1192" y="618"/>
                </a:cubicBezTo>
                <a:cubicBezTo>
                  <a:pt x="1285" y="560"/>
                  <a:pt x="1354" y="495"/>
                  <a:pt x="1397" y="426"/>
                </a:cubicBezTo>
                <a:cubicBezTo>
                  <a:pt x="1458" y="330"/>
                  <a:pt x="1455" y="248"/>
                  <a:pt x="1442" y="197"/>
                </a:cubicBezTo>
                <a:cubicBezTo>
                  <a:pt x="1421" y="118"/>
                  <a:pt x="1362" y="55"/>
                  <a:pt x="1287" y="35"/>
                </a:cubicBezTo>
                <a:cubicBezTo>
                  <a:pt x="1270" y="30"/>
                  <a:pt x="1252" y="28"/>
                  <a:pt x="1235" y="28"/>
                </a:cubicBezTo>
                <a:cubicBezTo>
                  <a:pt x="1227" y="28"/>
                  <a:pt x="1221" y="22"/>
                  <a:pt x="1221" y="14"/>
                </a:cubicBezTo>
                <a:cubicBezTo>
                  <a:pt x="1221" y="6"/>
                  <a:pt x="1227" y="0"/>
                  <a:pt x="1235" y="0"/>
                </a:cubicBezTo>
                <a:cubicBezTo>
                  <a:pt x="1255" y="0"/>
                  <a:pt x="1275" y="3"/>
                  <a:pt x="1294" y="8"/>
                </a:cubicBezTo>
                <a:cubicBezTo>
                  <a:pt x="1379" y="31"/>
                  <a:pt x="1446" y="101"/>
                  <a:pt x="1469" y="190"/>
                </a:cubicBezTo>
                <a:cubicBezTo>
                  <a:pt x="1483" y="247"/>
                  <a:pt x="1487" y="336"/>
                  <a:pt x="1421" y="441"/>
                </a:cubicBezTo>
                <a:cubicBezTo>
                  <a:pt x="1375" y="514"/>
                  <a:pt x="1303" y="581"/>
                  <a:pt x="1207" y="642"/>
                </a:cubicBezTo>
                <a:cubicBezTo>
                  <a:pt x="1197" y="649"/>
                  <a:pt x="1190" y="659"/>
                  <a:pt x="1188" y="671"/>
                </a:cubicBezTo>
                <a:cubicBezTo>
                  <a:pt x="1185" y="696"/>
                  <a:pt x="1180" y="720"/>
                  <a:pt x="1173" y="744"/>
                </a:cubicBezTo>
                <a:cubicBezTo>
                  <a:pt x="1171" y="750"/>
                  <a:pt x="1166" y="754"/>
                  <a:pt x="1160" y="754"/>
                </a:cubicBezTo>
                <a:close/>
                <a:moveTo>
                  <a:pt x="285" y="450"/>
                </a:moveTo>
                <a:cubicBezTo>
                  <a:pt x="276" y="450"/>
                  <a:pt x="267" y="446"/>
                  <a:pt x="259" y="439"/>
                </a:cubicBezTo>
                <a:cubicBezTo>
                  <a:pt x="182" y="368"/>
                  <a:pt x="147" y="291"/>
                  <a:pt x="163" y="227"/>
                </a:cubicBezTo>
                <a:cubicBezTo>
                  <a:pt x="163" y="227"/>
                  <a:pt x="163" y="227"/>
                  <a:pt x="163" y="227"/>
                </a:cubicBezTo>
                <a:cubicBezTo>
                  <a:pt x="176" y="177"/>
                  <a:pt x="218" y="150"/>
                  <a:pt x="252" y="150"/>
                </a:cubicBezTo>
                <a:cubicBezTo>
                  <a:pt x="323" y="150"/>
                  <a:pt x="323" y="150"/>
                  <a:pt x="323" y="150"/>
                </a:cubicBezTo>
                <a:cubicBezTo>
                  <a:pt x="323" y="412"/>
                  <a:pt x="323" y="412"/>
                  <a:pt x="323" y="412"/>
                </a:cubicBezTo>
                <a:cubicBezTo>
                  <a:pt x="323" y="427"/>
                  <a:pt x="315" y="440"/>
                  <a:pt x="301" y="446"/>
                </a:cubicBezTo>
                <a:cubicBezTo>
                  <a:pt x="296" y="449"/>
                  <a:pt x="290" y="450"/>
                  <a:pt x="285" y="450"/>
                </a:cubicBezTo>
                <a:close/>
                <a:moveTo>
                  <a:pt x="191" y="234"/>
                </a:moveTo>
                <a:cubicBezTo>
                  <a:pt x="177" y="287"/>
                  <a:pt x="209" y="355"/>
                  <a:pt x="278" y="419"/>
                </a:cubicBezTo>
                <a:cubicBezTo>
                  <a:pt x="283" y="423"/>
                  <a:pt x="288" y="421"/>
                  <a:pt x="289" y="421"/>
                </a:cubicBezTo>
                <a:cubicBezTo>
                  <a:pt x="291" y="420"/>
                  <a:pt x="295" y="417"/>
                  <a:pt x="295" y="412"/>
                </a:cubicBezTo>
                <a:cubicBezTo>
                  <a:pt x="295" y="178"/>
                  <a:pt x="295" y="178"/>
                  <a:pt x="295" y="178"/>
                </a:cubicBezTo>
                <a:cubicBezTo>
                  <a:pt x="252" y="178"/>
                  <a:pt x="252" y="178"/>
                  <a:pt x="252" y="178"/>
                </a:cubicBezTo>
                <a:cubicBezTo>
                  <a:pt x="229" y="178"/>
                  <a:pt x="200" y="197"/>
                  <a:pt x="191" y="234"/>
                </a:cubicBezTo>
                <a:close/>
                <a:moveTo>
                  <a:pt x="1202" y="449"/>
                </a:moveTo>
                <a:cubicBezTo>
                  <a:pt x="1197" y="449"/>
                  <a:pt x="1192" y="448"/>
                  <a:pt x="1187" y="446"/>
                </a:cubicBezTo>
                <a:cubicBezTo>
                  <a:pt x="1173" y="440"/>
                  <a:pt x="1164" y="427"/>
                  <a:pt x="1164" y="411"/>
                </a:cubicBezTo>
                <a:cubicBezTo>
                  <a:pt x="1164" y="150"/>
                  <a:pt x="1164" y="150"/>
                  <a:pt x="1164" y="150"/>
                </a:cubicBezTo>
                <a:cubicBezTo>
                  <a:pt x="1235" y="150"/>
                  <a:pt x="1235" y="150"/>
                  <a:pt x="1235" y="150"/>
                </a:cubicBezTo>
                <a:cubicBezTo>
                  <a:pt x="1269" y="150"/>
                  <a:pt x="1310" y="177"/>
                  <a:pt x="1323" y="227"/>
                </a:cubicBezTo>
                <a:cubicBezTo>
                  <a:pt x="1339" y="291"/>
                  <a:pt x="1305" y="368"/>
                  <a:pt x="1228" y="439"/>
                </a:cubicBezTo>
                <a:cubicBezTo>
                  <a:pt x="1221" y="446"/>
                  <a:pt x="1211" y="449"/>
                  <a:pt x="1202" y="449"/>
                </a:cubicBezTo>
                <a:close/>
                <a:moveTo>
                  <a:pt x="1192" y="178"/>
                </a:moveTo>
                <a:cubicBezTo>
                  <a:pt x="1192" y="411"/>
                  <a:pt x="1192" y="411"/>
                  <a:pt x="1192" y="411"/>
                </a:cubicBezTo>
                <a:cubicBezTo>
                  <a:pt x="1192" y="417"/>
                  <a:pt x="1196" y="420"/>
                  <a:pt x="1198" y="420"/>
                </a:cubicBezTo>
                <a:cubicBezTo>
                  <a:pt x="1199" y="421"/>
                  <a:pt x="1204" y="423"/>
                  <a:pt x="1209" y="418"/>
                </a:cubicBezTo>
                <a:cubicBezTo>
                  <a:pt x="1278" y="354"/>
                  <a:pt x="1310" y="287"/>
                  <a:pt x="1296" y="234"/>
                </a:cubicBezTo>
                <a:cubicBezTo>
                  <a:pt x="1287" y="197"/>
                  <a:pt x="1258" y="178"/>
                  <a:pt x="1235" y="178"/>
                </a:cubicBezTo>
                <a:lnTo>
                  <a:pt x="1192" y="178"/>
                </a:lnTo>
                <a:close/>
                <a:moveTo>
                  <a:pt x="1165" y="28"/>
                </a:moveTo>
                <a:cubicBezTo>
                  <a:pt x="1055" y="28"/>
                  <a:pt x="1055" y="28"/>
                  <a:pt x="1055" y="28"/>
                </a:cubicBezTo>
                <a:cubicBezTo>
                  <a:pt x="1047" y="28"/>
                  <a:pt x="1041" y="22"/>
                  <a:pt x="1041" y="14"/>
                </a:cubicBezTo>
                <a:cubicBezTo>
                  <a:pt x="1041" y="6"/>
                  <a:pt x="1047" y="0"/>
                  <a:pt x="1055" y="0"/>
                </a:cubicBezTo>
                <a:cubicBezTo>
                  <a:pt x="1165" y="0"/>
                  <a:pt x="1165" y="0"/>
                  <a:pt x="1165" y="0"/>
                </a:cubicBezTo>
                <a:cubicBezTo>
                  <a:pt x="1173" y="0"/>
                  <a:pt x="1179" y="6"/>
                  <a:pt x="1179" y="14"/>
                </a:cubicBezTo>
                <a:cubicBezTo>
                  <a:pt x="1179" y="22"/>
                  <a:pt x="1173" y="28"/>
                  <a:pt x="1165" y="28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4" name="Rectangle 43"/>
          <p:cNvSpPr/>
          <p:nvPr/>
        </p:nvSpPr>
        <p:spPr>
          <a:xfrm flipH="1">
            <a:off x="7183351" y="978221"/>
            <a:ext cx="3639463" cy="411022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9900" b="1" kern="0" cap="all" dirty="0">
                <a:solidFill>
                  <a:prstClr val="white">
                    <a:alpha val="50000"/>
                  </a:prstClr>
                </a:solidFill>
                <a:latin typeface="Source Sans Pro Black" charset="0"/>
                <a:ea typeface="Source Sans Pro Black" charset="0"/>
                <a:cs typeface="Source Sans Pro Black" charset="0"/>
              </a:rPr>
              <a:t>3</a:t>
            </a:r>
            <a:endParaRPr kumimoji="0" lang="lt-LT" sz="19900" b="1" i="0" u="none" strike="noStrike" kern="0" cap="all" spc="0" normalizeH="0" baseline="0" noProof="0" dirty="0">
              <a:ln>
                <a:noFill/>
              </a:ln>
              <a:solidFill>
                <a:prstClr val="white">
                  <a:alpha val="50000"/>
                </a:prstClr>
              </a:solidFill>
              <a:effectLst/>
              <a:uLnTx/>
              <a:uFillTx/>
              <a:latin typeface="Source Sans Pro Black" charset="0"/>
              <a:ea typeface="Source Sans Pro Black" charset="0"/>
              <a:cs typeface="Source Sans Pro Blac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9556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 flipH="1">
            <a:off x="11578370" y="6381088"/>
            <a:ext cx="358840" cy="215444"/>
          </a:xfrm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66" name="Content Placeholder 15">
            <a:extLst>
              <a:ext uri="{FF2B5EF4-FFF2-40B4-BE49-F238E27FC236}">
                <a16:creationId xmlns:a16="http://schemas.microsoft.com/office/drawing/2014/main" id="{17C7D2AA-5855-4FAB-9565-361243A59664}"/>
              </a:ext>
            </a:extLst>
          </p:cNvPr>
          <p:cNvSpPr txBox="1">
            <a:spLocks/>
          </p:cNvSpPr>
          <p:nvPr/>
        </p:nvSpPr>
        <p:spPr>
          <a:xfrm>
            <a:off x="8454452" y="358946"/>
            <a:ext cx="3582650" cy="545852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r>
              <a:rPr lang="ar-SA" altLang="ko-KR" sz="3200" dirty="0">
                <a:solidFill>
                  <a:srgbClr val="FFC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من خلال ..</a:t>
            </a:r>
          </a:p>
          <a:p>
            <a:pPr algn="r" rtl="1"/>
            <a:r>
              <a:rPr lang="ar-SA" altLang="ko-KR" sz="2400" dirty="0">
                <a:solidFill>
                  <a:srgbClr val="C00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استراتيجية قراءة الصورة – الحوار والمناقشة </a:t>
            </a:r>
          </a:p>
          <a:p>
            <a:pPr algn="r" rtl="1"/>
            <a:endParaRPr lang="ar-SA" altLang="ko-KR" sz="3200" dirty="0">
              <a:solidFill>
                <a:srgbClr val="FFC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457200" indent="-457200" algn="r" rtl="1">
              <a:buFont typeface="Arial" panose="020B0604020202020204" pitchFamily="34" charset="0"/>
              <a:buChar char="•"/>
            </a:pPr>
            <a:r>
              <a:rPr lang="ar-SA" altLang="ko-KR" sz="3000" dirty="0">
                <a:solidFill>
                  <a:srgbClr val="00B05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ما لفرق بين الموقعين ؟</a:t>
            </a:r>
          </a:p>
          <a:p>
            <a:pPr marL="457200" indent="-457200" algn="r" rtl="1">
              <a:buFont typeface="Arial" panose="020B0604020202020204" pitchFamily="34" charset="0"/>
              <a:buChar char="•"/>
            </a:pPr>
            <a:r>
              <a:rPr lang="ar-SA" altLang="ko-KR" sz="3000" dirty="0">
                <a:solidFill>
                  <a:srgbClr val="00B05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برأيك ماهي الإضافات التي أدت لوجود الفرق ؟</a:t>
            </a:r>
          </a:p>
          <a:p>
            <a:pPr algn="r" rtl="1"/>
            <a:endParaRPr lang="ar-SA" altLang="ko-KR" sz="3000" dirty="0">
              <a:solidFill>
                <a:srgbClr val="00B05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altLang="ko-KR" sz="3200" dirty="0">
              <a:solidFill>
                <a:srgbClr val="FFC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ko-KR" altLang="en-US" sz="3200" dirty="0">
              <a:solidFill>
                <a:srgbClr val="FFC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BE5BC24-23F8-46AC-8300-D4EC4D70DE63}"/>
              </a:ext>
            </a:extLst>
          </p:cNvPr>
          <p:cNvSpPr/>
          <p:nvPr/>
        </p:nvSpPr>
        <p:spPr>
          <a:xfrm flipH="1">
            <a:off x="2947341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3560F69-CA01-4BA0-A461-FB3A55271037}"/>
              </a:ext>
            </a:extLst>
          </p:cNvPr>
          <p:cNvSpPr/>
          <p:nvPr/>
        </p:nvSpPr>
        <p:spPr>
          <a:xfrm flipH="1">
            <a:off x="9381097" y="6318323"/>
            <a:ext cx="2499577" cy="6276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endParaRPr lang="en-US" sz="1100" dirty="0">
              <a:solidFill>
                <a:schemeClr val="accent3"/>
              </a:solidFill>
              <a:latin typeface="Source Sans Pro Light" panose="020B0403030403020204" pitchFamily="34" charset="-18"/>
            </a:endParaRPr>
          </a:p>
        </p:txBody>
      </p:sp>
      <p:pic>
        <p:nvPicPr>
          <p:cNvPr id="5" name="صورة 4">
            <a:extLst>
              <a:ext uri="{FF2B5EF4-FFF2-40B4-BE49-F238E27FC236}">
                <a16:creationId xmlns:a16="http://schemas.microsoft.com/office/drawing/2014/main" id="{C0334B4B-83F1-58FA-C8CF-790E45874AE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27860" y="358946"/>
            <a:ext cx="3874054" cy="5936456"/>
          </a:xfrm>
          <a:prstGeom prst="rect">
            <a:avLst/>
          </a:prstGeom>
        </p:spPr>
      </p:pic>
      <p:pic>
        <p:nvPicPr>
          <p:cNvPr id="8" name="صورة 7">
            <a:extLst>
              <a:ext uri="{FF2B5EF4-FFF2-40B4-BE49-F238E27FC236}">
                <a16:creationId xmlns:a16="http://schemas.microsoft.com/office/drawing/2014/main" id="{909DC7B8-1742-9B89-EA5B-FE456C7AE2F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9033" y="314515"/>
            <a:ext cx="3918118" cy="6066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6398560"/>
      </p:ext>
    </p:extLst>
  </p:cSld>
  <p:clrMapOvr>
    <a:masterClrMapping/>
  </p:clrMapOvr>
  <p:transition spd="slow">
    <p:wip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" t="12192" r="354" b="4034"/>
          <a:stretch/>
        </p:blipFill>
        <p:spPr/>
      </p:pic>
      <p:sp>
        <p:nvSpPr>
          <p:cNvPr id="24" name="Rectangle 23"/>
          <p:cNvSpPr/>
          <p:nvPr/>
        </p:nvSpPr>
        <p:spPr>
          <a:xfrm flipH="1">
            <a:off x="0" y="-8549"/>
            <a:ext cx="4813310" cy="6866549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t-LT" sz="3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25" name="Rectangle 24"/>
          <p:cNvSpPr/>
          <p:nvPr/>
        </p:nvSpPr>
        <p:spPr>
          <a:xfrm flipH="1">
            <a:off x="614854" y="2922077"/>
            <a:ext cx="4034359" cy="203132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 altLang="ko-KR" sz="4400" dirty="0">
                <a:solidFill>
                  <a:srgbClr val="FFC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مراجعة المكتسبات السابقة </a:t>
            </a:r>
            <a:endParaRPr kumimoji="0" lang="ko-KR" altLang="en-US" sz="44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 Jannat LT" panose="01000000000000000000" pitchFamily="2" charset="-78"/>
              <a:ea typeface="+mn-ea"/>
              <a:cs typeface="A Jannat LT" panose="01000000000000000000" pitchFamily="2" charset="-78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365794" y="326495"/>
            <a:ext cx="5258752" cy="5886943"/>
          </a:xfrm>
          <a:prstGeom prst="rect">
            <a:avLst/>
          </a:prstGeom>
          <a:noFill/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>
            <a:off x="3553143" y="1503563"/>
            <a:ext cx="72778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val 41"/>
          <p:cNvSpPr/>
          <p:nvPr/>
        </p:nvSpPr>
        <p:spPr>
          <a:xfrm>
            <a:off x="7566223" y="1984881"/>
            <a:ext cx="2876544" cy="2876544"/>
          </a:xfrm>
          <a:prstGeom prst="ellipse">
            <a:avLst/>
          </a:prstGeom>
          <a:noFill/>
          <a:ln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3" name="Oval 32"/>
          <p:cNvSpPr/>
          <p:nvPr/>
        </p:nvSpPr>
        <p:spPr>
          <a:xfrm>
            <a:off x="7521610" y="1940268"/>
            <a:ext cx="2965768" cy="2965768"/>
          </a:xfrm>
          <a:prstGeom prst="ellipse">
            <a:avLst/>
          </a:prstGeom>
          <a:noFill/>
          <a:ln w="317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7396887" y="2379990"/>
            <a:ext cx="666045" cy="66604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4" name="Oval 33"/>
          <p:cNvSpPr/>
          <p:nvPr/>
        </p:nvSpPr>
        <p:spPr>
          <a:xfrm>
            <a:off x="7339912" y="3203019"/>
            <a:ext cx="384884" cy="38488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5" name="Oval 34"/>
          <p:cNvSpPr/>
          <p:nvPr/>
        </p:nvSpPr>
        <p:spPr>
          <a:xfrm>
            <a:off x="7944038" y="2116156"/>
            <a:ext cx="297701" cy="2977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6" name="Oval 35"/>
          <p:cNvSpPr/>
          <p:nvPr/>
        </p:nvSpPr>
        <p:spPr>
          <a:xfrm>
            <a:off x="9781393" y="4242129"/>
            <a:ext cx="474373" cy="47437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7" name="Oval 36"/>
          <p:cNvSpPr/>
          <p:nvPr/>
        </p:nvSpPr>
        <p:spPr>
          <a:xfrm>
            <a:off x="10169141" y="4011741"/>
            <a:ext cx="278538" cy="27853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8" name="Oval 37"/>
          <p:cNvSpPr/>
          <p:nvPr/>
        </p:nvSpPr>
        <p:spPr>
          <a:xfrm>
            <a:off x="9632542" y="2064962"/>
            <a:ext cx="297701" cy="2977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9" name="Oval 38"/>
          <p:cNvSpPr/>
          <p:nvPr/>
        </p:nvSpPr>
        <p:spPr>
          <a:xfrm>
            <a:off x="9958065" y="2297680"/>
            <a:ext cx="164620" cy="16462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0" name="Oval 39"/>
          <p:cNvSpPr/>
          <p:nvPr/>
        </p:nvSpPr>
        <p:spPr>
          <a:xfrm>
            <a:off x="8159429" y="4589036"/>
            <a:ext cx="164620" cy="16462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1" name="Oval 40"/>
          <p:cNvSpPr/>
          <p:nvPr/>
        </p:nvSpPr>
        <p:spPr>
          <a:xfrm>
            <a:off x="8357684" y="4512788"/>
            <a:ext cx="658099" cy="6580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8" name="Freeform 13"/>
          <p:cNvSpPr>
            <a:spLocks noEditPoints="1"/>
          </p:cNvSpPr>
          <p:nvPr/>
        </p:nvSpPr>
        <p:spPr bwMode="auto">
          <a:xfrm>
            <a:off x="3988167" y="5269688"/>
            <a:ext cx="687257" cy="776288"/>
          </a:xfrm>
          <a:custGeom>
            <a:avLst/>
            <a:gdLst>
              <a:gd name="T0" fmla="*/ 435 w 1487"/>
              <a:gd name="T1" fmla="*/ 1680 h 1680"/>
              <a:gd name="T2" fmla="*/ 346 w 1487"/>
              <a:gd name="T3" fmla="*/ 1283 h 1680"/>
              <a:gd name="T4" fmla="*/ 627 w 1487"/>
              <a:gd name="T5" fmla="*/ 1194 h 1680"/>
              <a:gd name="T6" fmla="*/ 654 w 1487"/>
              <a:gd name="T7" fmla="*/ 1074 h 1680"/>
              <a:gd name="T8" fmla="*/ 299 w 1487"/>
              <a:gd name="T9" fmla="*/ 672 h 1680"/>
              <a:gd name="T10" fmla="*/ 66 w 1487"/>
              <a:gd name="T11" fmla="*/ 441 h 1680"/>
              <a:gd name="T12" fmla="*/ 252 w 1487"/>
              <a:gd name="T13" fmla="*/ 0 h 1680"/>
              <a:gd name="T14" fmla="*/ 979 w 1487"/>
              <a:gd name="T15" fmla="*/ 14 h 1680"/>
              <a:gd name="T16" fmla="*/ 252 w 1487"/>
              <a:gd name="T17" fmla="*/ 28 h 1680"/>
              <a:gd name="T18" fmla="*/ 90 w 1487"/>
              <a:gd name="T19" fmla="*/ 426 h 1680"/>
              <a:gd name="T20" fmla="*/ 327 w 1487"/>
              <a:gd name="T21" fmla="*/ 668 h 1680"/>
              <a:gd name="T22" fmla="*/ 682 w 1487"/>
              <a:gd name="T23" fmla="*/ 1074 h 1680"/>
              <a:gd name="T24" fmla="*/ 627 w 1487"/>
              <a:gd name="T25" fmla="*/ 1222 h 1680"/>
              <a:gd name="T26" fmla="*/ 374 w 1487"/>
              <a:gd name="T27" fmla="*/ 1283 h 1680"/>
              <a:gd name="T28" fmla="*/ 435 w 1487"/>
              <a:gd name="T29" fmla="*/ 1652 h 1680"/>
              <a:gd name="T30" fmla="*/ 1113 w 1487"/>
              <a:gd name="T31" fmla="*/ 1591 h 1680"/>
              <a:gd name="T32" fmla="*/ 1051 w 1487"/>
              <a:gd name="T33" fmla="*/ 1222 h 1680"/>
              <a:gd name="T34" fmla="*/ 804 w 1487"/>
              <a:gd name="T35" fmla="*/ 1167 h 1680"/>
              <a:gd name="T36" fmla="*/ 845 w 1487"/>
              <a:gd name="T37" fmla="*/ 1024 h 1680"/>
              <a:gd name="T38" fmla="*/ 1005 w 1487"/>
              <a:gd name="T39" fmla="*/ 963 h 1680"/>
              <a:gd name="T40" fmla="*/ 851 w 1487"/>
              <a:gd name="T41" fmla="*/ 1051 h 1680"/>
              <a:gd name="T42" fmla="*/ 832 w 1487"/>
              <a:gd name="T43" fmla="*/ 1167 h 1680"/>
              <a:gd name="T44" fmla="*/ 1051 w 1487"/>
              <a:gd name="T45" fmla="*/ 1194 h 1680"/>
              <a:gd name="T46" fmla="*/ 1141 w 1487"/>
              <a:gd name="T47" fmla="*/ 1591 h 1680"/>
              <a:gd name="T48" fmla="*/ 1109 w 1487"/>
              <a:gd name="T49" fmla="*/ 864 h 1680"/>
              <a:gd name="T50" fmla="*/ 1097 w 1487"/>
              <a:gd name="T51" fmla="*/ 842 h 1680"/>
              <a:gd name="T52" fmla="*/ 1140 w 1487"/>
              <a:gd name="T53" fmla="*/ 793 h 1680"/>
              <a:gd name="T54" fmla="*/ 1121 w 1487"/>
              <a:gd name="T55" fmla="*/ 857 h 1680"/>
              <a:gd name="T56" fmla="*/ 1160 w 1487"/>
              <a:gd name="T57" fmla="*/ 754 h 1680"/>
              <a:gd name="T58" fmla="*/ 1146 w 1487"/>
              <a:gd name="T59" fmla="*/ 736 h 1680"/>
              <a:gd name="T60" fmla="*/ 1192 w 1487"/>
              <a:gd name="T61" fmla="*/ 618 h 1680"/>
              <a:gd name="T62" fmla="*/ 1442 w 1487"/>
              <a:gd name="T63" fmla="*/ 197 h 1680"/>
              <a:gd name="T64" fmla="*/ 1235 w 1487"/>
              <a:gd name="T65" fmla="*/ 28 h 1680"/>
              <a:gd name="T66" fmla="*/ 1235 w 1487"/>
              <a:gd name="T67" fmla="*/ 0 h 1680"/>
              <a:gd name="T68" fmla="*/ 1469 w 1487"/>
              <a:gd name="T69" fmla="*/ 190 h 1680"/>
              <a:gd name="T70" fmla="*/ 1207 w 1487"/>
              <a:gd name="T71" fmla="*/ 642 h 1680"/>
              <a:gd name="T72" fmla="*/ 1173 w 1487"/>
              <a:gd name="T73" fmla="*/ 744 h 1680"/>
              <a:gd name="T74" fmla="*/ 285 w 1487"/>
              <a:gd name="T75" fmla="*/ 450 h 1680"/>
              <a:gd name="T76" fmla="*/ 163 w 1487"/>
              <a:gd name="T77" fmla="*/ 227 h 1680"/>
              <a:gd name="T78" fmla="*/ 252 w 1487"/>
              <a:gd name="T79" fmla="*/ 150 h 1680"/>
              <a:gd name="T80" fmla="*/ 323 w 1487"/>
              <a:gd name="T81" fmla="*/ 412 h 1680"/>
              <a:gd name="T82" fmla="*/ 285 w 1487"/>
              <a:gd name="T83" fmla="*/ 450 h 1680"/>
              <a:gd name="T84" fmla="*/ 278 w 1487"/>
              <a:gd name="T85" fmla="*/ 419 h 1680"/>
              <a:gd name="T86" fmla="*/ 295 w 1487"/>
              <a:gd name="T87" fmla="*/ 412 h 1680"/>
              <a:gd name="T88" fmla="*/ 252 w 1487"/>
              <a:gd name="T89" fmla="*/ 178 h 1680"/>
              <a:gd name="T90" fmla="*/ 1202 w 1487"/>
              <a:gd name="T91" fmla="*/ 449 h 1680"/>
              <a:gd name="T92" fmla="*/ 1164 w 1487"/>
              <a:gd name="T93" fmla="*/ 411 h 1680"/>
              <a:gd name="T94" fmla="*/ 1235 w 1487"/>
              <a:gd name="T95" fmla="*/ 150 h 1680"/>
              <a:gd name="T96" fmla="*/ 1228 w 1487"/>
              <a:gd name="T97" fmla="*/ 439 h 1680"/>
              <a:gd name="T98" fmla="*/ 1192 w 1487"/>
              <a:gd name="T99" fmla="*/ 178 h 1680"/>
              <a:gd name="T100" fmla="*/ 1198 w 1487"/>
              <a:gd name="T101" fmla="*/ 420 h 1680"/>
              <a:gd name="T102" fmla="*/ 1296 w 1487"/>
              <a:gd name="T103" fmla="*/ 234 h 1680"/>
              <a:gd name="T104" fmla="*/ 1192 w 1487"/>
              <a:gd name="T105" fmla="*/ 178 h 1680"/>
              <a:gd name="T106" fmla="*/ 1055 w 1487"/>
              <a:gd name="T107" fmla="*/ 28 h 1680"/>
              <a:gd name="T108" fmla="*/ 1055 w 1487"/>
              <a:gd name="T109" fmla="*/ 0 h 1680"/>
              <a:gd name="T110" fmla="*/ 1179 w 1487"/>
              <a:gd name="T111" fmla="*/ 14 h 1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487" h="1680">
                <a:moveTo>
                  <a:pt x="1051" y="1680"/>
                </a:moveTo>
                <a:cubicBezTo>
                  <a:pt x="435" y="1680"/>
                  <a:pt x="435" y="1680"/>
                  <a:pt x="435" y="1680"/>
                </a:cubicBezTo>
                <a:cubicBezTo>
                  <a:pt x="386" y="1680"/>
                  <a:pt x="346" y="1640"/>
                  <a:pt x="346" y="1591"/>
                </a:cubicBezTo>
                <a:cubicBezTo>
                  <a:pt x="346" y="1283"/>
                  <a:pt x="346" y="1283"/>
                  <a:pt x="346" y="1283"/>
                </a:cubicBezTo>
                <a:cubicBezTo>
                  <a:pt x="346" y="1234"/>
                  <a:pt x="386" y="1194"/>
                  <a:pt x="435" y="1194"/>
                </a:cubicBezTo>
                <a:cubicBezTo>
                  <a:pt x="627" y="1194"/>
                  <a:pt x="627" y="1194"/>
                  <a:pt x="627" y="1194"/>
                </a:cubicBezTo>
                <a:cubicBezTo>
                  <a:pt x="642" y="1194"/>
                  <a:pt x="654" y="1182"/>
                  <a:pt x="654" y="1167"/>
                </a:cubicBezTo>
                <a:cubicBezTo>
                  <a:pt x="654" y="1074"/>
                  <a:pt x="654" y="1074"/>
                  <a:pt x="654" y="1074"/>
                </a:cubicBezTo>
                <a:cubicBezTo>
                  <a:pt x="654" y="1063"/>
                  <a:pt x="647" y="1053"/>
                  <a:pt x="635" y="1051"/>
                </a:cubicBezTo>
                <a:cubicBezTo>
                  <a:pt x="457" y="1006"/>
                  <a:pt x="322" y="854"/>
                  <a:pt x="299" y="672"/>
                </a:cubicBezTo>
                <a:cubicBezTo>
                  <a:pt x="298" y="660"/>
                  <a:pt x="291" y="649"/>
                  <a:pt x="280" y="643"/>
                </a:cubicBezTo>
                <a:cubicBezTo>
                  <a:pt x="184" y="582"/>
                  <a:pt x="111" y="514"/>
                  <a:pt x="66" y="441"/>
                </a:cubicBezTo>
                <a:cubicBezTo>
                  <a:pt x="0" y="336"/>
                  <a:pt x="4" y="247"/>
                  <a:pt x="18" y="190"/>
                </a:cubicBezTo>
                <a:cubicBezTo>
                  <a:pt x="47" y="78"/>
                  <a:pt x="143" y="0"/>
                  <a:pt x="252" y="0"/>
                </a:cubicBezTo>
                <a:cubicBezTo>
                  <a:pt x="965" y="0"/>
                  <a:pt x="965" y="0"/>
                  <a:pt x="965" y="0"/>
                </a:cubicBezTo>
                <a:cubicBezTo>
                  <a:pt x="973" y="0"/>
                  <a:pt x="979" y="6"/>
                  <a:pt x="979" y="14"/>
                </a:cubicBezTo>
                <a:cubicBezTo>
                  <a:pt x="979" y="22"/>
                  <a:pt x="973" y="28"/>
                  <a:pt x="965" y="28"/>
                </a:cubicBezTo>
                <a:cubicBezTo>
                  <a:pt x="252" y="28"/>
                  <a:pt x="252" y="28"/>
                  <a:pt x="252" y="28"/>
                </a:cubicBezTo>
                <a:cubicBezTo>
                  <a:pt x="156" y="28"/>
                  <a:pt x="71" y="98"/>
                  <a:pt x="45" y="197"/>
                </a:cubicBezTo>
                <a:cubicBezTo>
                  <a:pt x="32" y="248"/>
                  <a:pt x="29" y="330"/>
                  <a:pt x="90" y="426"/>
                </a:cubicBezTo>
                <a:cubicBezTo>
                  <a:pt x="133" y="495"/>
                  <a:pt x="202" y="560"/>
                  <a:pt x="295" y="619"/>
                </a:cubicBezTo>
                <a:cubicBezTo>
                  <a:pt x="313" y="630"/>
                  <a:pt x="324" y="648"/>
                  <a:pt x="327" y="668"/>
                </a:cubicBezTo>
                <a:cubicBezTo>
                  <a:pt x="348" y="839"/>
                  <a:pt x="475" y="982"/>
                  <a:pt x="642" y="1023"/>
                </a:cubicBezTo>
                <a:cubicBezTo>
                  <a:pt x="666" y="1029"/>
                  <a:pt x="682" y="1050"/>
                  <a:pt x="682" y="1074"/>
                </a:cubicBezTo>
                <a:cubicBezTo>
                  <a:pt x="682" y="1167"/>
                  <a:pt x="682" y="1167"/>
                  <a:pt x="682" y="1167"/>
                </a:cubicBezTo>
                <a:cubicBezTo>
                  <a:pt x="682" y="1197"/>
                  <a:pt x="658" y="1222"/>
                  <a:pt x="627" y="1222"/>
                </a:cubicBezTo>
                <a:cubicBezTo>
                  <a:pt x="435" y="1222"/>
                  <a:pt x="435" y="1222"/>
                  <a:pt x="435" y="1222"/>
                </a:cubicBezTo>
                <a:cubicBezTo>
                  <a:pt x="402" y="1222"/>
                  <a:pt x="374" y="1249"/>
                  <a:pt x="374" y="1283"/>
                </a:cubicBezTo>
                <a:cubicBezTo>
                  <a:pt x="374" y="1591"/>
                  <a:pt x="374" y="1591"/>
                  <a:pt x="374" y="1591"/>
                </a:cubicBezTo>
                <a:cubicBezTo>
                  <a:pt x="374" y="1625"/>
                  <a:pt x="402" y="1652"/>
                  <a:pt x="435" y="1652"/>
                </a:cubicBezTo>
                <a:cubicBezTo>
                  <a:pt x="1051" y="1652"/>
                  <a:pt x="1051" y="1652"/>
                  <a:pt x="1051" y="1652"/>
                </a:cubicBezTo>
                <a:cubicBezTo>
                  <a:pt x="1085" y="1652"/>
                  <a:pt x="1113" y="1625"/>
                  <a:pt x="1113" y="1591"/>
                </a:cubicBezTo>
                <a:cubicBezTo>
                  <a:pt x="1113" y="1283"/>
                  <a:pt x="1113" y="1283"/>
                  <a:pt x="1113" y="1283"/>
                </a:cubicBezTo>
                <a:cubicBezTo>
                  <a:pt x="1113" y="1249"/>
                  <a:pt x="1085" y="1222"/>
                  <a:pt x="1051" y="1222"/>
                </a:cubicBezTo>
                <a:cubicBezTo>
                  <a:pt x="860" y="1222"/>
                  <a:pt x="860" y="1222"/>
                  <a:pt x="860" y="1222"/>
                </a:cubicBezTo>
                <a:cubicBezTo>
                  <a:pt x="829" y="1222"/>
                  <a:pt x="804" y="1197"/>
                  <a:pt x="804" y="1167"/>
                </a:cubicBezTo>
                <a:cubicBezTo>
                  <a:pt x="804" y="1075"/>
                  <a:pt x="804" y="1075"/>
                  <a:pt x="804" y="1075"/>
                </a:cubicBezTo>
                <a:cubicBezTo>
                  <a:pt x="804" y="1050"/>
                  <a:pt x="821" y="1029"/>
                  <a:pt x="845" y="1024"/>
                </a:cubicBezTo>
                <a:cubicBezTo>
                  <a:pt x="895" y="1011"/>
                  <a:pt x="942" y="990"/>
                  <a:pt x="985" y="960"/>
                </a:cubicBezTo>
                <a:cubicBezTo>
                  <a:pt x="991" y="955"/>
                  <a:pt x="1000" y="957"/>
                  <a:pt x="1005" y="963"/>
                </a:cubicBezTo>
                <a:cubicBezTo>
                  <a:pt x="1009" y="969"/>
                  <a:pt x="1007" y="978"/>
                  <a:pt x="1001" y="982"/>
                </a:cubicBezTo>
                <a:cubicBezTo>
                  <a:pt x="956" y="1014"/>
                  <a:pt x="905" y="1037"/>
                  <a:pt x="851" y="1051"/>
                </a:cubicBezTo>
                <a:cubicBezTo>
                  <a:pt x="840" y="1054"/>
                  <a:pt x="832" y="1063"/>
                  <a:pt x="832" y="1075"/>
                </a:cubicBezTo>
                <a:cubicBezTo>
                  <a:pt x="832" y="1167"/>
                  <a:pt x="832" y="1167"/>
                  <a:pt x="832" y="1167"/>
                </a:cubicBezTo>
                <a:cubicBezTo>
                  <a:pt x="832" y="1182"/>
                  <a:pt x="845" y="1194"/>
                  <a:pt x="860" y="1194"/>
                </a:cubicBezTo>
                <a:cubicBezTo>
                  <a:pt x="1051" y="1194"/>
                  <a:pt x="1051" y="1194"/>
                  <a:pt x="1051" y="1194"/>
                </a:cubicBezTo>
                <a:cubicBezTo>
                  <a:pt x="1101" y="1194"/>
                  <a:pt x="1141" y="1234"/>
                  <a:pt x="1141" y="1283"/>
                </a:cubicBezTo>
                <a:cubicBezTo>
                  <a:pt x="1141" y="1591"/>
                  <a:pt x="1141" y="1591"/>
                  <a:pt x="1141" y="1591"/>
                </a:cubicBezTo>
                <a:cubicBezTo>
                  <a:pt x="1141" y="1640"/>
                  <a:pt x="1101" y="1680"/>
                  <a:pt x="1051" y="1680"/>
                </a:cubicBezTo>
                <a:close/>
                <a:moveTo>
                  <a:pt x="1109" y="864"/>
                </a:moveTo>
                <a:cubicBezTo>
                  <a:pt x="1107" y="864"/>
                  <a:pt x="1104" y="863"/>
                  <a:pt x="1102" y="862"/>
                </a:cubicBezTo>
                <a:cubicBezTo>
                  <a:pt x="1095" y="858"/>
                  <a:pt x="1093" y="849"/>
                  <a:pt x="1097" y="842"/>
                </a:cubicBezTo>
                <a:cubicBezTo>
                  <a:pt x="1106" y="828"/>
                  <a:pt x="1115" y="814"/>
                  <a:pt x="1122" y="799"/>
                </a:cubicBezTo>
                <a:cubicBezTo>
                  <a:pt x="1125" y="792"/>
                  <a:pt x="1134" y="789"/>
                  <a:pt x="1140" y="793"/>
                </a:cubicBezTo>
                <a:cubicBezTo>
                  <a:pt x="1147" y="796"/>
                  <a:pt x="1150" y="804"/>
                  <a:pt x="1147" y="811"/>
                </a:cubicBezTo>
                <a:cubicBezTo>
                  <a:pt x="1139" y="827"/>
                  <a:pt x="1130" y="843"/>
                  <a:pt x="1121" y="857"/>
                </a:cubicBezTo>
                <a:cubicBezTo>
                  <a:pt x="1118" y="862"/>
                  <a:pt x="1114" y="864"/>
                  <a:pt x="1109" y="864"/>
                </a:cubicBezTo>
                <a:close/>
                <a:moveTo>
                  <a:pt x="1160" y="754"/>
                </a:moveTo>
                <a:cubicBezTo>
                  <a:pt x="1159" y="754"/>
                  <a:pt x="1157" y="754"/>
                  <a:pt x="1156" y="753"/>
                </a:cubicBezTo>
                <a:cubicBezTo>
                  <a:pt x="1148" y="751"/>
                  <a:pt x="1144" y="743"/>
                  <a:pt x="1146" y="736"/>
                </a:cubicBezTo>
                <a:cubicBezTo>
                  <a:pt x="1153" y="714"/>
                  <a:pt x="1158" y="691"/>
                  <a:pt x="1161" y="668"/>
                </a:cubicBezTo>
                <a:cubicBezTo>
                  <a:pt x="1163" y="647"/>
                  <a:pt x="1175" y="629"/>
                  <a:pt x="1192" y="618"/>
                </a:cubicBezTo>
                <a:cubicBezTo>
                  <a:pt x="1285" y="560"/>
                  <a:pt x="1354" y="495"/>
                  <a:pt x="1397" y="426"/>
                </a:cubicBezTo>
                <a:cubicBezTo>
                  <a:pt x="1458" y="330"/>
                  <a:pt x="1455" y="248"/>
                  <a:pt x="1442" y="197"/>
                </a:cubicBezTo>
                <a:cubicBezTo>
                  <a:pt x="1421" y="118"/>
                  <a:pt x="1362" y="55"/>
                  <a:pt x="1287" y="35"/>
                </a:cubicBezTo>
                <a:cubicBezTo>
                  <a:pt x="1270" y="30"/>
                  <a:pt x="1252" y="28"/>
                  <a:pt x="1235" y="28"/>
                </a:cubicBezTo>
                <a:cubicBezTo>
                  <a:pt x="1227" y="28"/>
                  <a:pt x="1221" y="22"/>
                  <a:pt x="1221" y="14"/>
                </a:cubicBezTo>
                <a:cubicBezTo>
                  <a:pt x="1221" y="6"/>
                  <a:pt x="1227" y="0"/>
                  <a:pt x="1235" y="0"/>
                </a:cubicBezTo>
                <a:cubicBezTo>
                  <a:pt x="1255" y="0"/>
                  <a:pt x="1275" y="3"/>
                  <a:pt x="1294" y="8"/>
                </a:cubicBezTo>
                <a:cubicBezTo>
                  <a:pt x="1379" y="31"/>
                  <a:pt x="1446" y="101"/>
                  <a:pt x="1469" y="190"/>
                </a:cubicBezTo>
                <a:cubicBezTo>
                  <a:pt x="1483" y="247"/>
                  <a:pt x="1487" y="336"/>
                  <a:pt x="1421" y="441"/>
                </a:cubicBezTo>
                <a:cubicBezTo>
                  <a:pt x="1375" y="514"/>
                  <a:pt x="1303" y="581"/>
                  <a:pt x="1207" y="642"/>
                </a:cubicBezTo>
                <a:cubicBezTo>
                  <a:pt x="1197" y="649"/>
                  <a:pt x="1190" y="659"/>
                  <a:pt x="1188" y="671"/>
                </a:cubicBezTo>
                <a:cubicBezTo>
                  <a:pt x="1185" y="696"/>
                  <a:pt x="1180" y="720"/>
                  <a:pt x="1173" y="744"/>
                </a:cubicBezTo>
                <a:cubicBezTo>
                  <a:pt x="1171" y="750"/>
                  <a:pt x="1166" y="754"/>
                  <a:pt x="1160" y="754"/>
                </a:cubicBezTo>
                <a:close/>
                <a:moveTo>
                  <a:pt x="285" y="450"/>
                </a:moveTo>
                <a:cubicBezTo>
                  <a:pt x="276" y="450"/>
                  <a:pt x="267" y="446"/>
                  <a:pt x="259" y="439"/>
                </a:cubicBezTo>
                <a:cubicBezTo>
                  <a:pt x="182" y="368"/>
                  <a:pt x="147" y="291"/>
                  <a:pt x="163" y="227"/>
                </a:cubicBezTo>
                <a:cubicBezTo>
                  <a:pt x="163" y="227"/>
                  <a:pt x="163" y="227"/>
                  <a:pt x="163" y="227"/>
                </a:cubicBezTo>
                <a:cubicBezTo>
                  <a:pt x="176" y="177"/>
                  <a:pt x="218" y="150"/>
                  <a:pt x="252" y="150"/>
                </a:cubicBezTo>
                <a:cubicBezTo>
                  <a:pt x="323" y="150"/>
                  <a:pt x="323" y="150"/>
                  <a:pt x="323" y="150"/>
                </a:cubicBezTo>
                <a:cubicBezTo>
                  <a:pt x="323" y="412"/>
                  <a:pt x="323" y="412"/>
                  <a:pt x="323" y="412"/>
                </a:cubicBezTo>
                <a:cubicBezTo>
                  <a:pt x="323" y="427"/>
                  <a:pt x="315" y="440"/>
                  <a:pt x="301" y="446"/>
                </a:cubicBezTo>
                <a:cubicBezTo>
                  <a:pt x="296" y="449"/>
                  <a:pt x="290" y="450"/>
                  <a:pt x="285" y="450"/>
                </a:cubicBezTo>
                <a:close/>
                <a:moveTo>
                  <a:pt x="191" y="234"/>
                </a:moveTo>
                <a:cubicBezTo>
                  <a:pt x="177" y="287"/>
                  <a:pt x="209" y="355"/>
                  <a:pt x="278" y="419"/>
                </a:cubicBezTo>
                <a:cubicBezTo>
                  <a:pt x="283" y="423"/>
                  <a:pt x="288" y="421"/>
                  <a:pt x="289" y="421"/>
                </a:cubicBezTo>
                <a:cubicBezTo>
                  <a:pt x="291" y="420"/>
                  <a:pt x="295" y="417"/>
                  <a:pt x="295" y="412"/>
                </a:cubicBezTo>
                <a:cubicBezTo>
                  <a:pt x="295" y="178"/>
                  <a:pt x="295" y="178"/>
                  <a:pt x="295" y="178"/>
                </a:cubicBezTo>
                <a:cubicBezTo>
                  <a:pt x="252" y="178"/>
                  <a:pt x="252" y="178"/>
                  <a:pt x="252" y="178"/>
                </a:cubicBezTo>
                <a:cubicBezTo>
                  <a:pt x="229" y="178"/>
                  <a:pt x="200" y="197"/>
                  <a:pt x="191" y="234"/>
                </a:cubicBezTo>
                <a:close/>
                <a:moveTo>
                  <a:pt x="1202" y="449"/>
                </a:moveTo>
                <a:cubicBezTo>
                  <a:pt x="1197" y="449"/>
                  <a:pt x="1192" y="448"/>
                  <a:pt x="1187" y="446"/>
                </a:cubicBezTo>
                <a:cubicBezTo>
                  <a:pt x="1173" y="440"/>
                  <a:pt x="1164" y="427"/>
                  <a:pt x="1164" y="411"/>
                </a:cubicBezTo>
                <a:cubicBezTo>
                  <a:pt x="1164" y="150"/>
                  <a:pt x="1164" y="150"/>
                  <a:pt x="1164" y="150"/>
                </a:cubicBezTo>
                <a:cubicBezTo>
                  <a:pt x="1235" y="150"/>
                  <a:pt x="1235" y="150"/>
                  <a:pt x="1235" y="150"/>
                </a:cubicBezTo>
                <a:cubicBezTo>
                  <a:pt x="1269" y="150"/>
                  <a:pt x="1310" y="177"/>
                  <a:pt x="1323" y="227"/>
                </a:cubicBezTo>
                <a:cubicBezTo>
                  <a:pt x="1339" y="291"/>
                  <a:pt x="1305" y="368"/>
                  <a:pt x="1228" y="439"/>
                </a:cubicBezTo>
                <a:cubicBezTo>
                  <a:pt x="1221" y="446"/>
                  <a:pt x="1211" y="449"/>
                  <a:pt x="1202" y="449"/>
                </a:cubicBezTo>
                <a:close/>
                <a:moveTo>
                  <a:pt x="1192" y="178"/>
                </a:moveTo>
                <a:cubicBezTo>
                  <a:pt x="1192" y="411"/>
                  <a:pt x="1192" y="411"/>
                  <a:pt x="1192" y="411"/>
                </a:cubicBezTo>
                <a:cubicBezTo>
                  <a:pt x="1192" y="417"/>
                  <a:pt x="1196" y="420"/>
                  <a:pt x="1198" y="420"/>
                </a:cubicBezTo>
                <a:cubicBezTo>
                  <a:pt x="1199" y="421"/>
                  <a:pt x="1204" y="423"/>
                  <a:pt x="1209" y="418"/>
                </a:cubicBezTo>
                <a:cubicBezTo>
                  <a:pt x="1278" y="354"/>
                  <a:pt x="1310" y="287"/>
                  <a:pt x="1296" y="234"/>
                </a:cubicBezTo>
                <a:cubicBezTo>
                  <a:pt x="1287" y="197"/>
                  <a:pt x="1258" y="178"/>
                  <a:pt x="1235" y="178"/>
                </a:cubicBezTo>
                <a:lnTo>
                  <a:pt x="1192" y="178"/>
                </a:lnTo>
                <a:close/>
                <a:moveTo>
                  <a:pt x="1165" y="28"/>
                </a:moveTo>
                <a:cubicBezTo>
                  <a:pt x="1055" y="28"/>
                  <a:pt x="1055" y="28"/>
                  <a:pt x="1055" y="28"/>
                </a:cubicBezTo>
                <a:cubicBezTo>
                  <a:pt x="1047" y="28"/>
                  <a:pt x="1041" y="22"/>
                  <a:pt x="1041" y="14"/>
                </a:cubicBezTo>
                <a:cubicBezTo>
                  <a:pt x="1041" y="6"/>
                  <a:pt x="1047" y="0"/>
                  <a:pt x="1055" y="0"/>
                </a:cubicBezTo>
                <a:cubicBezTo>
                  <a:pt x="1165" y="0"/>
                  <a:pt x="1165" y="0"/>
                  <a:pt x="1165" y="0"/>
                </a:cubicBezTo>
                <a:cubicBezTo>
                  <a:pt x="1173" y="0"/>
                  <a:pt x="1179" y="6"/>
                  <a:pt x="1179" y="14"/>
                </a:cubicBezTo>
                <a:cubicBezTo>
                  <a:pt x="1179" y="22"/>
                  <a:pt x="1173" y="28"/>
                  <a:pt x="1165" y="28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4" name="Rectangle 43"/>
          <p:cNvSpPr/>
          <p:nvPr/>
        </p:nvSpPr>
        <p:spPr>
          <a:xfrm flipH="1">
            <a:off x="7183351" y="978221"/>
            <a:ext cx="3639463" cy="411022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9900" b="1" kern="0" cap="all" dirty="0">
                <a:solidFill>
                  <a:prstClr val="white">
                    <a:alpha val="50000"/>
                  </a:prstClr>
                </a:solidFill>
                <a:latin typeface="Source Sans Pro Black" charset="0"/>
                <a:ea typeface="Source Sans Pro Black" charset="0"/>
                <a:cs typeface="Source Sans Pro Black" charset="0"/>
              </a:rPr>
              <a:t>4</a:t>
            </a:r>
            <a:endParaRPr kumimoji="0" lang="lt-LT" sz="19900" b="1" i="0" u="none" strike="noStrike" kern="0" cap="all" spc="0" normalizeH="0" baseline="0" noProof="0" dirty="0">
              <a:ln>
                <a:noFill/>
              </a:ln>
              <a:solidFill>
                <a:prstClr val="white">
                  <a:alpha val="50000"/>
                </a:prstClr>
              </a:solidFill>
              <a:effectLst/>
              <a:uLnTx/>
              <a:uFillTx/>
              <a:latin typeface="Source Sans Pro Black" charset="0"/>
              <a:ea typeface="Source Sans Pro Black" charset="0"/>
              <a:cs typeface="Source Sans Pro Blac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1115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66" name="Content Placeholder 15">
            <a:extLst>
              <a:ext uri="{FF2B5EF4-FFF2-40B4-BE49-F238E27FC236}">
                <a16:creationId xmlns:a16="http://schemas.microsoft.com/office/drawing/2014/main" id="{17C7D2AA-5855-4FAB-9565-361243A59664}"/>
              </a:ext>
            </a:extLst>
          </p:cNvPr>
          <p:cNvSpPr txBox="1">
            <a:spLocks/>
          </p:cNvSpPr>
          <p:nvPr/>
        </p:nvSpPr>
        <p:spPr>
          <a:xfrm>
            <a:off x="8298024" y="230065"/>
            <a:ext cx="3582650" cy="125471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r>
              <a:rPr lang="ar-SA" altLang="ko-KR" sz="3200" dirty="0">
                <a:solidFill>
                  <a:srgbClr val="FFC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ما هو محرر </a:t>
            </a:r>
            <a:r>
              <a:rPr lang="en-US" altLang="ko-KR" sz="3200" dirty="0">
                <a:solidFill>
                  <a:srgbClr val="FFC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HTML </a:t>
            </a:r>
            <a:r>
              <a:rPr lang="ar-SA" altLang="ko-KR" sz="3200" dirty="0">
                <a:solidFill>
                  <a:srgbClr val="FFC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؟ </a:t>
            </a:r>
          </a:p>
          <a:p>
            <a:pPr algn="r" rtl="1"/>
            <a:r>
              <a:rPr lang="ar-SA" altLang="ko-KR" sz="3200" dirty="0">
                <a:solidFill>
                  <a:srgbClr val="FFC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</a:t>
            </a:r>
          </a:p>
          <a:p>
            <a:pPr algn="r" rtl="1"/>
            <a:endParaRPr lang="ko-KR" altLang="en-US" sz="3200" dirty="0">
              <a:solidFill>
                <a:srgbClr val="FFC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BE5BC24-23F8-46AC-8300-D4EC4D70DE63}"/>
              </a:ext>
            </a:extLst>
          </p:cNvPr>
          <p:cNvSpPr/>
          <p:nvPr/>
        </p:nvSpPr>
        <p:spPr>
          <a:xfrm flipH="1">
            <a:off x="2947341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3560F69-CA01-4BA0-A461-FB3A55271037}"/>
              </a:ext>
            </a:extLst>
          </p:cNvPr>
          <p:cNvSpPr/>
          <p:nvPr/>
        </p:nvSpPr>
        <p:spPr>
          <a:xfrm flipH="1">
            <a:off x="9381097" y="794656"/>
            <a:ext cx="2499577" cy="6276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endParaRPr lang="en-US" sz="1100" dirty="0">
              <a:solidFill>
                <a:schemeClr val="accent3"/>
              </a:solidFill>
              <a:latin typeface="Source Sans Pro Light" panose="020B0403030403020204" pitchFamily="34" charset="-18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4873" y="155865"/>
            <a:ext cx="8103152" cy="2382547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 flipH="1">
            <a:off x="584616" y="1019331"/>
            <a:ext cx="7525487" cy="0"/>
          </a:xfrm>
          <a:prstGeom prst="line">
            <a:avLst/>
          </a:prstGeom>
          <a:ln w="444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H="1">
            <a:off x="6662333" y="1377869"/>
            <a:ext cx="1635690" cy="12492"/>
          </a:xfrm>
          <a:prstGeom prst="line">
            <a:avLst/>
          </a:prstGeom>
          <a:ln w="444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721302" y="2046270"/>
            <a:ext cx="2628053" cy="14338"/>
          </a:xfrm>
          <a:prstGeom prst="line">
            <a:avLst/>
          </a:prstGeom>
          <a:ln w="444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 flipH="1">
            <a:off x="5861154" y="2348243"/>
            <a:ext cx="2436869" cy="0"/>
          </a:xfrm>
          <a:prstGeom prst="line">
            <a:avLst/>
          </a:prstGeom>
          <a:ln w="444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3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6074" y="2871492"/>
            <a:ext cx="7515225" cy="2630658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34499" y="2538412"/>
            <a:ext cx="3385482" cy="3781425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214378" y="5719762"/>
            <a:ext cx="3895725" cy="600075"/>
          </a:xfrm>
          <a:prstGeom prst="rect">
            <a:avLst/>
          </a:prstGeom>
        </p:spPr>
      </p:pic>
      <p:sp>
        <p:nvSpPr>
          <p:cNvPr id="37" name="Content Placeholder 15">
            <a:extLst>
              <a:ext uri="{FF2B5EF4-FFF2-40B4-BE49-F238E27FC236}">
                <a16:creationId xmlns:a16="http://schemas.microsoft.com/office/drawing/2014/main" id="{17C7D2AA-5855-4FAB-9565-361243A59664}"/>
              </a:ext>
            </a:extLst>
          </p:cNvPr>
          <p:cNvSpPr txBox="1">
            <a:spLocks/>
          </p:cNvSpPr>
          <p:nvPr/>
        </p:nvSpPr>
        <p:spPr>
          <a:xfrm>
            <a:off x="721302" y="5858730"/>
            <a:ext cx="3518300" cy="886844"/>
          </a:xfrm>
          <a:prstGeom prst="rect">
            <a:avLst/>
          </a:prstGeom>
        </p:spPr>
        <p:txBody>
          <a:bodyPr lIns="0" tIns="0" rIns="0" bIns="0">
            <a:normAutofit fontScale="92500" lnSpcReduction="10000"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r>
              <a:rPr lang="ar-SA" altLang="ko-KR" sz="3200" dirty="0">
                <a:solidFill>
                  <a:srgbClr val="01B9D3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كيف يتم تثبيت البرنامج</a:t>
            </a:r>
          </a:p>
          <a:p>
            <a:pPr algn="r" rtl="1"/>
            <a:r>
              <a:rPr lang="ar-SA" altLang="ko-KR" sz="3200" dirty="0">
                <a:solidFill>
                  <a:srgbClr val="FFC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</a:t>
            </a:r>
          </a:p>
          <a:p>
            <a:pPr algn="r" rtl="1"/>
            <a:endParaRPr lang="ko-KR" altLang="en-US" sz="3200" dirty="0">
              <a:solidFill>
                <a:srgbClr val="FFC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665140" y="1881518"/>
            <a:ext cx="3124200" cy="466725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66587" y="5753690"/>
            <a:ext cx="691189" cy="825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500484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Kotio">
      <a:dk1>
        <a:srgbClr val="262626"/>
      </a:dk1>
      <a:lt1>
        <a:sysClr val="window" lastClr="FFFFFF"/>
      </a:lt1>
      <a:dk2>
        <a:srgbClr val="BFBFBF"/>
      </a:dk2>
      <a:lt2>
        <a:srgbClr val="E7E6E6"/>
      </a:lt2>
      <a:accent1>
        <a:srgbClr val="FFC000"/>
      </a:accent1>
      <a:accent2>
        <a:srgbClr val="0C0C0C"/>
      </a:accent2>
      <a:accent3>
        <a:srgbClr val="262626"/>
      </a:accent3>
      <a:accent4>
        <a:srgbClr val="3F3F3F"/>
      </a:accent4>
      <a:accent5>
        <a:srgbClr val="595959"/>
      </a:accent5>
      <a:accent6>
        <a:srgbClr val="7F7F7F"/>
      </a:accent6>
      <a:hlink>
        <a:srgbClr val="FFC000"/>
      </a:hlink>
      <a:folHlink>
        <a:srgbClr val="BFBFBF"/>
      </a:folHlink>
    </a:clrScheme>
    <a:fontScheme name="Kotio">
      <a:majorFont>
        <a:latin typeface="Source Sans Pro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38</TotalTime>
  <Words>1042</Words>
  <Application>Microsoft Office PowerPoint</Application>
  <PresentationFormat>شاشة عريضة</PresentationFormat>
  <Paragraphs>315</Paragraphs>
  <Slides>32</Slides>
  <Notes>32</Notes>
  <HiddenSlides>0</HiddenSlides>
  <MMClips>0</MMClips>
  <ScaleCrop>false</ScaleCrop>
  <HeadingPairs>
    <vt:vector size="8" baseType="variant">
      <vt:variant>
        <vt:lpstr>الخطوط المستخدمة</vt:lpstr>
      </vt:variant>
      <vt:variant>
        <vt:i4>10</vt:i4>
      </vt:variant>
      <vt:variant>
        <vt:lpstr>نسق</vt:lpstr>
      </vt:variant>
      <vt:variant>
        <vt:i4>2</vt:i4>
      </vt:variant>
      <vt:variant>
        <vt:lpstr>خوادم OLE مضمنة</vt:lpstr>
      </vt:variant>
      <vt:variant>
        <vt:i4>1</vt:i4>
      </vt:variant>
      <vt:variant>
        <vt:lpstr>عناوين الشرائح</vt:lpstr>
      </vt:variant>
      <vt:variant>
        <vt:i4>32</vt:i4>
      </vt:variant>
    </vt:vector>
  </HeadingPairs>
  <TitlesOfParts>
    <vt:vector size="45" baseType="lpstr">
      <vt:lpstr>A Jannat LT</vt:lpstr>
      <vt:lpstr>Arial</vt:lpstr>
      <vt:lpstr>Calibri</vt:lpstr>
      <vt:lpstr>Calibri Light</vt:lpstr>
      <vt:lpstr>Century Gothic</vt:lpstr>
      <vt:lpstr>Georgia</vt:lpstr>
      <vt:lpstr>Source Sans Pro</vt:lpstr>
      <vt:lpstr>Source Sans Pro Black</vt:lpstr>
      <vt:lpstr>Source Sans Pro Light</vt:lpstr>
      <vt:lpstr>Times New Roman</vt:lpstr>
      <vt:lpstr>Office Theme</vt:lpstr>
      <vt:lpstr>1_Office Theme</vt:lpstr>
      <vt:lpstr>think-cell Slide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sus</dc:creator>
  <cp:lastModifiedBy>عبير بنت الاحمد</cp:lastModifiedBy>
  <cp:revision>42</cp:revision>
  <dcterms:created xsi:type="dcterms:W3CDTF">2021-10-31T13:20:47Z</dcterms:created>
  <dcterms:modified xsi:type="dcterms:W3CDTF">2023-01-21T20:34:43Z</dcterms:modified>
</cp:coreProperties>
</file>